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0"/>
  </p:notesMasterIdLst>
  <p:sldIdLst>
    <p:sldId id="256" r:id="rId5"/>
    <p:sldId id="2147309174" r:id="rId6"/>
    <p:sldId id="2147309184" r:id="rId7"/>
    <p:sldId id="2147309165" r:id="rId8"/>
    <p:sldId id="2147309177" r:id="rId9"/>
    <p:sldId id="2147309171" r:id="rId10"/>
    <p:sldId id="2147309168" r:id="rId11"/>
    <p:sldId id="2147309175" r:id="rId12"/>
    <p:sldId id="2147309169" r:id="rId13"/>
    <p:sldId id="2147309170" r:id="rId14"/>
    <p:sldId id="2147309178" r:id="rId15"/>
    <p:sldId id="2147309179" r:id="rId16"/>
    <p:sldId id="2147309180" r:id="rId17"/>
    <p:sldId id="2147309181" r:id="rId18"/>
    <p:sldId id="2147309182" r:id="rId19"/>
  </p:sldIdLst>
  <p:sldSz cx="12192000" cy="6858000"/>
  <p:notesSz cx="6858000" cy="9144000"/>
  <p:custDataLst>
    <p:tags r:id="rId21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yrvag, Oda" initials="MO" lastIdx="6" clrIdx="0">
    <p:extLst>
      <p:ext uri="{19B8F6BF-5375-455C-9EA6-DF929625EA0E}">
        <p15:presenceInfo xmlns:p15="http://schemas.microsoft.com/office/powerpoint/2012/main" userId="S::omyrvag@deloitte.no::a8cbc5d5-a60f-469f-af81-81e559ffacc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6C8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13AB42-BD7D-4876-8322-BEEB20998AF5}" v="77" dt="2022-05-12T08:08:36.856"/>
    <p1510:client id="{8DE5B713-352D-4968-B8C5-6F613898ABAE}" v="4" dt="2022-05-11T14:13:24.74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22" d="100"/>
          <a:sy n="122" d="100"/>
        </p:scale>
        <p:origin x="114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yrvag, Oda" userId="S::omyrvag_deloitte.no#ext#@studntnu.onmicrosoft.com::cbd7d047-da8f-4ff5-9673-e6685fee313e" providerId="AD" clId="Web-{8DE5B713-352D-4968-B8C5-6F613898ABAE}"/>
    <pc:docChg chg="modSld">
      <pc:chgData name="Myrvag, Oda" userId="S::omyrvag_deloitte.no#ext#@studntnu.onmicrosoft.com::cbd7d047-da8f-4ff5-9673-e6685fee313e" providerId="AD" clId="Web-{8DE5B713-352D-4968-B8C5-6F613898ABAE}" dt="2022-05-11T14:13:24.740" v="3" actId="1076"/>
      <pc:docMkLst>
        <pc:docMk/>
      </pc:docMkLst>
      <pc:sldChg chg="modSp">
        <pc:chgData name="Myrvag, Oda" userId="S::omyrvag_deloitte.no#ext#@studntnu.onmicrosoft.com::cbd7d047-da8f-4ff5-9673-e6685fee313e" providerId="AD" clId="Web-{8DE5B713-352D-4968-B8C5-6F613898ABAE}" dt="2022-05-11T14:13:24.740" v="3" actId="1076"/>
        <pc:sldMkLst>
          <pc:docMk/>
          <pc:sldMk cId="37023422" sldId="2147309170"/>
        </pc:sldMkLst>
        <pc:picChg chg="mod">
          <ac:chgData name="Myrvag, Oda" userId="S::omyrvag_deloitte.no#ext#@studntnu.onmicrosoft.com::cbd7d047-da8f-4ff5-9673-e6685fee313e" providerId="AD" clId="Web-{8DE5B713-352D-4968-B8C5-6F613898ABAE}" dt="2022-05-11T14:13:22.271" v="2" actId="1076"/>
          <ac:picMkLst>
            <pc:docMk/>
            <pc:sldMk cId="37023422" sldId="2147309170"/>
            <ac:picMk id="16" creationId="{2E51EE4E-030A-44D7-8B98-F5A6091A8425}"/>
          </ac:picMkLst>
        </pc:picChg>
        <pc:picChg chg="mod">
          <ac:chgData name="Myrvag, Oda" userId="S::omyrvag_deloitte.no#ext#@studntnu.onmicrosoft.com::cbd7d047-da8f-4ff5-9673-e6685fee313e" providerId="AD" clId="Web-{8DE5B713-352D-4968-B8C5-6F613898ABAE}" dt="2022-05-11T14:13:24.740" v="3" actId="1076"/>
          <ac:picMkLst>
            <pc:docMk/>
            <pc:sldMk cId="37023422" sldId="2147309170"/>
            <ac:picMk id="18" creationId="{34F86460-984B-4361-8693-B541563C1CE6}"/>
          </ac:picMkLst>
        </pc:picChg>
      </pc:sldChg>
    </pc:docChg>
  </pc:docChgLst>
  <pc:docChgLst>
    <pc:chgData name="Myrvag, Oda" userId="a8cbc5d5-a60f-469f-af81-81e559ffaccc" providerId="ADAL" clId="{B42F99E5-55AF-4D28-91DF-41E5C4F27B98}"/>
    <pc:docChg chg="custSel delSld modSld">
      <pc:chgData name="Myrvag, Oda" userId="a8cbc5d5-a60f-469f-af81-81e559ffaccc" providerId="ADAL" clId="{B42F99E5-55AF-4D28-91DF-41E5C4F27B98}" dt="2022-05-11T07:23:51.423" v="412"/>
      <pc:docMkLst>
        <pc:docMk/>
      </pc:docMkLst>
      <pc:sldChg chg="modSp mod">
        <pc:chgData name="Myrvag, Oda" userId="a8cbc5d5-a60f-469f-af81-81e559ffaccc" providerId="ADAL" clId="{B42F99E5-55AF-4D28-91DF-41E5C4F27B98}" dt="2022-05-10T15:44:51.913" v="311" actId="20577"/>
        <pc:sldMkLst>
          <pc:docMk/>
          <pc:sldMk cId="1544909723" sldId="2147309168"/>
        </pc:sldMkLst>
        <pc:spChg chg="mod">
          <ac:chgData name="Myrvag, Oda" userId="a8cbc5d5-a60f-469f-af81-81e559ffaccc" providerId="ADAL" clId="{B42F99E5-55AF-4D28-91DF-41E5C4F27B98}" dt="2022-05-10T15:44:51.913" v="311" actId="20577"/>
          <ac:spMkLst>
            <pc:docMk/>
            <pc:sldMk cId="1544909723" sldId="2147309168"/>
            <ac:spMk id="28" creationId="{F8053D1F-2705-49FA-B579-99493A0E10A3}"/>
          </ac:spMkLst>
        </pc:spChg>
      </pc:sldChg>
      <pc:sldChg chg="modSp mod">
        <pc:chgData name="Myrvag, Oda" userId="a8cbc5d5-a60f-469f-af81-81e559ffaccc" providerId="ADAL" clId="{B42F99E5-55AF-4D28-91DF-41E5C4F27B98}" dt="2022-05-10T15:43:50.188" v="307" actId="20577"/>
        <pc:sldMkLst>
          <pc:docMk/>
          <pc:sldMk cId="3875458243" sldId="2147309171"/>
        </pc:sldMkLst>
        <pc:spChg chg="mod">
          <ac:chgData name="Myrvag, Oda" userId="a8cbc5d5-a60f-469f-af81-81e559ffaccc" providerId="ADAL" clId="{B42F99E5-55AF-4D28-91DF-41E5C4F27B98}" dt="2022-05-10T15:43:50.188" v="307" actId="20577"/>
          <ac:spMkLst>
            <pc:docMk/>
            <pc:sldMk cId="3875458243" sldId="2147309171"/>
            <ac:spMk id="17" creationId="{2BE1C12F-E477-4C6D-9542-ECC8442B8901}"/>
          </ac:spMkLst>
        </pc:spChg>
      </pc:sldChg>
      <pc:sldChg chg="modSp mod">
        <pc:chgData name="Myrvag, Oda" userId="a8cbc5d5-a60f-469f-af81-81e559ffaccc" providerId="ADAL" clId="{B42F99E5-55AF-4D28-91DF-41E5C4F27B98}" dt="2022-05-10T15:37:41.863" v="305" actId="20577"/>
        <pc:sldMkLst>
          <pc:docMk/>
          <pc:sldMk cId="71136575" sldId="2147309177"/>
        </pc:sldMkLst>
        <pc:spChg chg="mod">
          <ac:chgData name="Myrvag, Oda" userId="a8cbc5d5-a60f-469f-af81-81e559ffaccc" providerId="ADAL" clId="{B42F99E5-55AF-4D28-91DF-41E5C4F27B98}" dt="2022-05-10T15:37:41.863" v="305" actId="20577"/>
          <ac:spMkLst>
            <pc:docMk/>
            <pc:sldMk cId="71136575" sldId="2147309177"/>
            <ac:spMk id="71" creationId="{C07DA833-291C-486C-9DE1-8936795F5C79}"/>
          </ac:spMkLst>
        </pc:spChg>
      </pc:sldChg>
      <pc:sldChg chg="addSp delSp modSp mod">
        <pc:chgData name="Myrvag, Oda" userId="a8cbc5d5-a60f-469f-af81-81e559ffaccc" providerId="ADAL" clId="{B42F99E5-55AF-4D28-91DF-41E5C4F27B98}" dt="2022-05-10T15:01:24.910" v="179"/>
        <pc:sldMkLst>
          <pc:docMk/>
          <pc:sldMk cId="2335327680" sldId="2147309178"/>
        </pc:sldMkLst>
        <pc:spChg chg="mod">
          <ac:chgData name="Myrvag, Oda" userId="a8cbc5d5-a60f-469f-af81-81e559ffaccc" providerId="ADAL" clId="{B42F99E5-55AF-4D28-91DF-41E5C4F27B98}" dt="2022-05-10T15:01:24.883" v="138" actId="948"/>
          <ac:spMkLst>
            <pc:docMk/>
            <pc:sldMk cId="2335327680" sldId="2147309178"/>
            <ac:spMk id="2" creationId="{8F58A632-28E7-45A1-B685-9B3E7763ED9F}"/>
          </ac:spMkLst>
        </pc:spChg>
        <pc:spChg chg="add del mod modVis">
          <ac:chgData name="Myrvag, Oda" userId="a8cbc5d5-a60f-469f-af81-81e559ffaccc" providerId="ADAL" clId="{B42F99E5-55AF-4D28-91DF-41E5C4F27B98}" dt="2022-05-10T15:01:19.430" v="53"/>
          <ac:spMkLst>
            <pc:docMk/>
            <pc:sldMk cId="2335327680" sldId="2147309178"/>
            <ac:spMk id="3" creationId="{045972C6-87EA-4F1E-8A83-E766628CE5A8}"/>
          </ac:spMkLst>
        </pc:spChg>
        <pc:spChg chg="add del mod modVis">
          <ac:chgData name="Myrvag, Oda" userId="a8cbc5d5-a60f-469f-af81-81e559ffaccc" providerId="ADAL" clId="{B42F99E5-55AF-4D28-91DF-41E5C4F27B98}" dt="2022-05-10T15:01:23.246" v="125"/>
          <ac:spMkLst>
            <pc:docMk/>
            <pc:sldMk cId="2335327680" sldId="2147309178"/>
            <ac:spMk id="4" creationId="{A2451337-C241-4A0E-8B45-124413408FCE}"/>
          </ac:spMkLst>
        </pc:spChg>
        <pc:spChg chg="add del mod modVis">
          <ac:chgData name="Myrvag, Oda" userId="a8cbc5d5-a60f-469f-af81-81e559ffaccc" providerId="ADAL" clId="{B42F99E5-55AF-4D28-91DF-41E5C4F27B98}" dt="2022-05-10T15:01:24.908" v="177"/>
          <ac:spMkLst>
            <pc:docMk/>
            <pc:sldMk cId="2335327680" sldId="2147309178"/>
            <ac:spMk id="6" creationId="{9F2457C1-2587-4A12-AC40-86BC0675A946}"/>
          </ac:spMkLst>
        </pc:spChg>
        <pc:graphicFrameChg chg="mod">
          <ac:chgData name="Myrvag, Oda" userId="a8cbc5d5-a60f-469f-af81-81e559ffaccc" providerId="ADAL" clId="{B42F99E5-55AF-4D28-91DF-41E5C4F27B98}" dt="2022-05-10T15:01:24.910" v="179"/>
          <ac:graphicFrameMkLst>
            <pc:docMk/>
            <pc:sldMk cId="2335327680" sldId="2147309178"/>
            <ac:graphicFrameMk id="5" creationId="{6AD4DA79-1E04-4E88-9159-6BCF2AFF4E9D}"/>
          </ac:graphicFrameMkLst>
        </pc:graphicFrameChg>
      </pc:sldChg>
      <pc:sldChg chg="mod modTransition modShow">
        <pc:chgData name="Myrvag, Oda" userId="a8cbc5d5-a60f-469f-af81-81e559ffaccc" providerId="ADAL" clId="{B42F99E5-55AF-4D28-91DF-41E5C4F27B98}" dt="2022-05-11T07:23:48.351" v="408"/>
        <pc:sldMkLst>
          <pc:docMk/>
          <pc:sldMk cId="4079708626" sldId="2147309180"/>
        </pc:sldMkLst>
      </pc:sldChg>
      <pc:sldChg chg="mod modTransition modShow">
        <pc:chgData name="Myrvag, Oda" userId="a8cbc5d5-a60f-469f-af81-81e559ffaccc" providerId="ADAL" clId="{B42F99E5-55AF-4D28-91DF-41E5C4F27B98}" dt="2022-05-11T07:23:49.867" v="410"/>
        <pc:sldMkLst>
          <pc:docMk/>
          <pc:sldMk cId="3908950601" sldId="2147309181"/>
        </pc:sldMkLst>
      </pc:sldChg>
      <pc:sldChg chg="mod modTransition modShow">
        <pc:chgData name="Myrvag, Oda" userId="a8cbc5d5-a60f-469f-af81-81e559ffaccc" providerId="ADAL" clId="{B42F99E5-55AF-4D28-91DF-41E5C4F27B98}" dt="2022-05-11T07:23:51.423" v="412"/>
        <pc:sldMkLst>
          <pc:docMk/>
          <pc:sldMk cId="1519378211" sldId="2147309182"/>
        </pc:sldMkLst>
      </pc:sldChg>
      <pc:sldChg chg="delSp modSp del mod">
        <pc:chgData name="Myrvag, Oda" userId="a8cbc5d5-a60f-469f-af81-81e559ffaccc" providerId="ADAL" clId="{B42F99E5-55AF-4D28-91DF-41E5C4F27B98}" dt="2022-05-11T05:33:36.185" v="312" actId="47"/>
        <pc:sldMkLst>
          <pc:docMk/>
          <pc:sldMk cId="407088022" sldId="2147309183"/>
        </pc:sldMkLst>
        <pc:spChg chg="mod">
          <ac:chgData name="Myrvag, Oda" userId="a8cbc5d5-a60f-469f-af81-81e559ffaccc" providerId="ADAL" clId="{B42F99E5-55AF-4D28-91DF-41E5C4F27B98}" dt="2022-05-10T15:09:18.914" v="301" actId="5793"/>
          <ac:spMkLst>
            <pc:docMk/>
            <pc:sldMk cId="407088022" sldId="2147309183"/>
            <ac:spMk id="3" creationId="{3E088602-79D7-4560-93D3-24A4D2B05551}"/>
          </ac:spMkLst>
        </pc:spChg>
        <pc:spChg chg="del">
          <ac:chgData name="Myrvag, Oda" userId="a8cbc5d5-a60f-469f-af81-81e559ffaccc" providerId="ADAL" clId="{B42F99E5-55AF-4D28-91DF-41E5C4F27B98}" dt="2022-05-10T15:05:28.873" v="180" actId="478"/>
          <ac:spMkLst>
            <pc:docMk/>
            <pc:sldMk cId="407088022" sldId="2147309183"/>
            <ac:spMk id="4" creationId="{7808FB36-4F7C-4133-8A25-3E192CBDE41F}"/>
          </ac:spMkLst>
        </pc:spChg>
      </pc:sldChg>
      <pc:sldChg chg="delSp modSp mod">
        <pc:chgData name="Myrvag, Oda" userId="a8cbc5d5-a60f-469f-af81-81e559ffaccc" providerId="ADAL" clId="{B42F99E5-55AF-4D28-91DF-41E5C4F27B98}" dt="2022-05-11T05:59:51.957" v="406" actId="108"/>
        <pc:sldMkLst>
          <pc:docMk/>
          <pc:sldMk cId="2836290133" sldId="2147309184"/>
        </pc:sldMkLst>
        <pc:spChg chg="mod">
          <ac:chgData name="Myrvag, Oda" userId="a8cbc5d5-a60f-469f-af81-81e559ffaccc" providerId="ADAL" clId="{B42F99E5-55AF-4D28-91DF-41E5C4F27B98}" dt="2022-05-11T05:59:51.957" v="406" actId="108"/>
          <ac:spMkLst>
            <pc:docMk/>
            <pc:sldMk cId="2836290133" sldId="2147309184"/>
            <ac:spMk id="3" creationId="{EF71F447-5350-4C9D-8C9E-49F9CE1AD193}"/>
          </ac:spMkLst>
        </pc:spChg>
        <pc:spChg chg="del">
          <ac:chgData name="Myrvag, Oda" userId="a8cbc5d5-a60f-469f-af81-81e559ffaccc" providerId="ADAL" clId="{B42F99E5-55AF-4D28-91DF-41E5C4F27B98}" dt="2022-05-11T05:33:46.190" v="333" actId="478"/>
          <ac:spMkLst>
            <pc:docMk/>
            <pc:sldMk cId="2836290133" sldId="2147309184"/>
            <ac:spMk id="4" creationId="{CDEC1254-9291-47EB-8E82-FABF1D6CEC07}"/>
          </ac:spMkLst>
        </pc:spChg>
      </pc:sldChg>
    </pc:docChg>
  </pc:docChgLst>
  <pc:docChgLst>
    <pc:chgData name="Myrvag, Oda" userId="a8cbc5d5-a60f-469f-af81-81e559ffaccc" providerId="ADAL" clId="{81613F7F-5A23-4E29-8F93-D381433B8D2A}"/>
    <pc:docChg chg="undo custSel addSld delSld modSld sldOrd delMainMaster modMainMaster">
      <pc:chgData name="Myrvag, Oda" userId="a8cbc5d5-a60f-469f-af81-81e559ffaccc" providerId="ADAL" clId="{81613F7F-5A23-4E29-8F93-D381433B8D2A}" dt="2022-05-10T07:33:42.432" v="26492" actId="20577"/>
      <pc:docMkLst>
        <pc:docMk/>
      </pc:docMkLst>
      <pc:sldChg chg="addSp delSp modSp mod modClrScheme chgLayout">
        <pc:chgData name="Myrvag, Oda" userId="a8cbc5d5-a60f-469f-af81-81e559ffaccc" providerId="ADAL" clId="{81613F7F-5A23-4E29-8F93-D381433B8D2A}" dt="2022-05-07T06:40:50.596" v="19034"/>
        <pc:sldMkLst>
          <pc:docMk/>
          <pc:sldMk cId="3911251947" sldId="256"/>
        </pc:sldMkLst>
        <pc:spChg chg="del mod ord">
          <ac:chgData name="Myrvag, Oda" userId="a8cbc5d5-a60f-469f-af81-81e559ffaccc" providerId="ADAL" clId="{81613F7F-5A23-4E29-8F93-D381433B8D2A}" dt="2022-05-07T06:40:45.060" v="19010"/>
          <ac:spMkLst>
            <pc:docMk/>
            <pc:sldMk cId="3911251947" sldId="256"/>
            <ac:spMk id="2" creationId="{00000000-0000-0000-0000-000000000000}"/>
          </ac:spMkLst>
        </pc:spChg>
        <pc:spChg chg="del mod ord">
          <ac:chgData name="Myrvag, Oda" userId="a8cbc5d5-a60f-469f-af81-81e559ffaccc" providerId="ADAL" clId="{81613F7F-5A23-4E29-8F93-D381433B8D2A}" dt="2022-05-07T06:39:55.612" v="18941"/>
          <ac:spMkLst>
            <pc:docMk/>
            <pc:sldMk cId="3911251947" sldId="256"/>
            <ac:spMk id="3" creationId="{00000000-0000-0000-0000-000000000000}"/>
          </ac:spMkLst>
        </pc:spChg>
        <pc:spChg chg="add mod ord">
          <ac:chgData name="Myrvag, Oda" userId="a8cbc5d5-a60f-469f-af81-81e559ffaccc" providerId="ADAL" clId="{81613F7F-5A23-4E29-8F93-D381433B8D2A}" dt="2022-05-07T06:40:45.060" v="19010"/>
          <ac:spMkLst>
            <pc:docMk/>
            <pc:sldMk cId="3911251947" sldId="256"/>
            <ac:spMk id="5" creationId="{049557A6-CE53-4DED-8332-20D84584694A}"/>
          </ac:spMkLst>
        </pc:spChg>
        <pc:spChg chg="add mod ord">
          <ac:chgData name="Myrvag, Oda" userId="a8cbc5d5-a60f-469f-af81-81e559ffaccc" providerId="ADAL" clId="{81613F7F-5A23-4E29-8F93-D381433B8D2A}" dt="2022-05-07T06:40:50.591" v="19032" actId="948"/>
          <ac:spMkLst>
            <pc:docMk/>
            <pc:sldMk cId="3911251947" sldId="256"/>
            <ac:spMk id="6" creationId="{13BC4CD2-6D04-4748-B341-6DA513C6D29A}"/>
          </ac:spMkLst>
        </pc:spChg>
        <pc:graphicFrameChg chg="add mod ord modVis">
          <ac:chgData name="Myrvag, Oda" userId="a8cbc5d5-a60f-469f-af81-81e559ffaccc" providerId="ADAL" clId="{81613F7F-5A23-4E29-8F93-D381433B8D2A}" dt="2022-05-07T06:40:50.596" v="19034"/>
          <ac:graphicFrameMkLst>
            <pc:docMk/>
            <pc:sldMk cId="3911251947" sldId="256"/>
            <ac:graphicFrameMk id="4" creationId="{D0EA55B1-196C-4B07-BBE4-22EFD2EF5F02}"/>
          </ac:graphicFrameMkLst>
        </pc:graphicFrameChg>
      </pc:sldChg>
      <pc:sldChg chg="del">
        <pc:chgData name="Myrvag, Oda" userId="a8cbc5d5-a60f-469f-af81-81e559ffaccc" providerId="ADAL" clId="{81613F7F-5A23-4E29-8F93-D381433B8D2A}" dt="2022-05-06T12:51:14.311" v="5" actId="47"/>
        <pc:sldMkLst>
          <pc:docMk/>
          <pc:sldMk cId="2798278711" sldId="259"/>
        </pc:sldMkLst>
      </pc:sldChg>
      <pc:sldChg chg="del">
        <pc:chgData name="Myrvag, Oda" userId="a8cbc5d5-a60f-469f-af81-81e559ffaccc" providerId="ADAL" clId="{81613F7F-5A23-4E29-8F93-D381433B8D2A}" dt="2022-05-06T12:51:14.052" v="4" actId="47"/>
        <pc:sldMkLst>
          <pc:docMk/>
          <pc:sldMk cId="3441432899" sldId="260"/>
        </pc:sldMkLst>
      </pc:sldChg>
      <pc:sldChg chg="del">
        <pc:chgData name="Myrvag, Oda" userId="a8cbc5d5-a60f-469f-af81-81e559ffaccc" providerId="ADAL" clId="{81613F7F-5A23-4E29-8F93-D381433B8D2A}" dt="2022-05-06T12:51:13.569" v="2" actId="47"/>
        <pc:sldMkLst>
          <pc:docMk/>
          <pc:sldMk cId="2991776469" sldId="261"/>
        </pc:sldMkLst>
      </pc:sldChg>
      <pc:sldChg chg="del">
        <pc:chgData name="Myrvag, Oda" userId="a8cbc5d5-a60f-469f-af81-81e559ffaccc" providerId="ADAL" clId="{81613F7F-5A23-4E29-8F93-D381433B8D2A}" dt="2022-05-06T17:07:37.816" v="10853" actId="47"/>
        <pc:sldMkLst>
          <pc:docMk/>
          <pc:sldMk cId="3122842541" sldId="1456"/>
        </pc:sldMkLst>
      </pc:sldChg>
      <pc:sldChg chg="del">
        <pc:chgData name="Myrvag, Oda" userId="a8cbc5d5-a60f-469f-af81-81e559ffaccc" providerId="ADAL" clId="{81613F7F-5A23-4E29-8F93-D381433B8D2A}" dt="2022-05-06T16:30:28.587" v="7120" actId="47"/>
        <pc:sldMkLst>
          <pc:docMk/>
          <pc:sldMk cId="3122842541" sldId="1457"/>
        </pc:sldMkLst>
      </pc:sldChg>
      <pc:sldChg chg="add del">
        <pc:chgData name="Myrvag, Oda" userId="a8cbc5d5-a60f-469f-af81-81e559ffaccc" providerId="ADAL" clId="{81613F7F-5A23-4E29-8F93-D381433B8D2A}" dt="2022-05-06T16:50:48.587" v="9238" actId="47"/>
        <pc:sldMkLst>
          <pc:docMk/>
          <pc:sldMk cId="4059029986" sldId="3775"/>
        </pc:sldMkLst>
      </pc:sldChg>
      <pc:sldChg chg="del">
        <pc:chgData name="Myrvag, Oda" userId="a8cbc5d5-a60f-469f-af81-81e559ffaccc" providerId="ADAL" clId="{81613F7F-5A23-4E29-8F93-D381433B8D2A}" dt="2022-05-06T12:51:13.835" v="3" actId="47"/>
        <pc:sldMkLst>
          <pc:docMk/>
          <pc:sldMk cId="1826672414" sldId="5208"/>
        </pc:sldMkLst>
      </pc:sldChg>
      <pc:sldChg chg="del">
        <pc:chgData name="Myrvag, Oda" userId="a8cbc5d5-a60f-469f-af81-81e559ffaccc" providerId="ADAL" clId="{81613F7F-5A23-4E29-8F93-D381433B8D2A}" dt="2022-05-06T12:51:14.759" v="6" actId="47"/>
        <pc:sldMkLst>
          <pc:docMk/>
          <pc:sldMk cId="2689377991" sldId="2147309160"/>
        </pc:sldMkLst>
      </pc:sldChg>
      <pc:sldChg chg="modSp del mod ord">
        <pc:chgData name="Myrvag, Oda" userId="a8cbc5d5-a60f-469f-af81-81e559ffaccc" providerId="ADAL" clId="{81613F7F-5A23-4E29-8F93-D381433B8D2A}" dt="2022-05-06T20:57:23.250" v="14176" actId="47"/>
        <pc:sldMkLst>
          <pc:docMk/>
          <pc:sldMk cId="3661203567" sldId="2147309161"/>
        </pc:sldMkLst>
        <pc:spChg chg="mod">
          <ac:chgData name="Myrvag, Oda" userId="a8cbc5d5-a60f-469f-af81-81e559ffaccc" providerId="ADAL" clId="{81613F7F-5A23-4E29-8F93-D381433B8D2A}" dt="2022-05-06T13:02:08.923" v="995" actId="20577"/>
          <ac:spMkLst>
            <pc:docMk/>
            <pc:sldMk cId="3661203567" sldId="2147309161"/>
            <ac:spMk id="3" creationId="{170DD70D-8F49-48B2-A41E-18543CB4380E}"/>
          </ac:spMkLst>
        </pc:spChg>
      </pc:sldChg>
      <pc:sldChg chg="addSp delSp modSp new add del mod">
        <pc:chgData name="Myrvag, Oda" userId="a8cbc5d5-a60f-469f-af81-81e559ffaccc" providerId="ADAL" clId="{81613F7F-5A23-4E29-8F93-D381433B8D2A}" dt="2022-05-06T17:07:40.207" v="10854" actId="47"/>
        <pc:sldMkLst>
          <pc:docMk/>
          <pc:sldMk cId="2834250383" sldId="2147309162"/>
        </pc:sldMkLst>
        <pc:spChg chg="mod">
          <ac:chgData name="Myrvag, Oda" userId="a8cbc5d5-a60f-469f-af81-81e559ffaccc" providerId="ADAL" clId="{81613F7F-5A23-4E29-8F93-D381433B8D2A}" dt="2022-05-06T13:41:13.532" v="4421" actId="948"/>
          <ac:spMkLst>
            <pc:docMk/>
            <pc:sldMk cId="2834250383" sldId="2147309162"/>
            <ac:spMk id="2" creationId="{75D85D2A-1F34-415E-A7BC-F9DA4926B3A2}"/>
          </ac:spMkLst>
        </pc:spChg>
        <pc:spChg chg="add del mod modVis">
          <ac:chgData name="Myrvag, Oda" userId="a8cbc5d5-a60f-469f-af81-81e559ffaccc" providerId="ADAL" clId="{81613F7F-5A23-4E29-8F93-D381433B8D2A}" dt="2022-05-06T12:57:03.571" v="232"/>
          <ac:spMkLst>
            <pc:docMk/>
            <pc:sldMk cId="2834250383" sldId="2147309162"/>
            <ac:spMk id="4" creationId="{CD0B6F80-BBEC-4E11-ACC9-6B3B14769153}"/>
          </ac:spMkLst>
        </pc:spChg>
        <pc:spChg chg="add del mod modVis">
          <ac:chgData name="Myrvag, Oda" userId="a8cbc5d5-a60f-469f-af81-81e559ffaccc" providerId="ADAL" clId="{81613F7F-5A23-4E29-8F93-D381433B8D2A}" dt="2022-05-06T12:57:05.623" v="290"/>
          <ac:spMkLst>
            <pc:docMk/>
            <pc:sldMk cId="2834250383" sldId="2147309162"/>
            <ac:spMk id="6" creationId="{B0348682-DF7B-4F61-A2E7-F81BE2A3112B}"/>
          </ac:spMkLst>
        </pc:spChg>
        <pc:spChg chg="add del mod modVis">
          <ac:chgData name="Myrvag, Oda" userId="a8cbc5d5-a60f-469f-af81-81e559ffaccc" providerId="ADAL" clId="{81613F7F-5A23-4E29-8F93-D381433B8D2A}" dt="2022-05-06T13:40:58.241" v="4371"/>
          <ac:spMkLst>
            <pc:docMk/>
            <pc:sldMk cId="2834250383" sldId="2147309162"/>
            <ac:spMk id="7" creationId="{08F290EA-6FCC-45E5-BF4A-25473DDD0533}"/>
          </ac:spMkLst>
        </pc:spChg>
        <pc:spChg chg="add del mod modVis">
          <ac:chgData name="Myrvag, Oda" userId="a8cbc5d5-a60f-469f-af81-81e559ffaccc" providerId="ADAL" clId="{81613F7F-5A23-4E29-8F93-D381433B8D2A}" dt="2022-05-06T13:41:11.190" v="4414"/>
          <ac:spMkLst>
            <pc:docMk/>
            <pc:sldMk cId="2834250383" sldId="2147309162"/>
            <ac:spMk id="8" creationId="{049DA61E-CD26-4C63-9419-617A0D74C3BD}"/>
          </ac:spMkLst>
        </pc:spChg>
        <pc:spChg chg="add del mod modVis">
          <ac:chgData name="Myrvag, Oda" userId="a8cbc5d5-a60f-469f-af81-81e559ffaccc" providerId="ADAL" clId="{81613F7F-5A23-4E29-8F93-D381433B8D2A}" dt="2022-05-06T13:41:13.581" v="4460"/>
          <ac:spMkLst>
            <pc:docMk/>
            <pc:sldMk cId="2834250383" sldId="2147309162"/>
            <ac:spMk id="9" creationId="{D5BF56D9-425C-4A7A-81F6-1EDC30D148EB}"/>
          </ac:spMkLst>
        </pc:spChg>
        <pc:graphicFrameChg chg="add mod ord modVis">
          <ac:chgData name="Myrvag, Oda" userId="a8cbc5d5-a60f-469f-af81-81e559ffaccc" providerId="ADAL" clId="{81613F7F-5A23-4E29-8F93-D381433B8D2A}" dt="2022-05-06T13:41:13.585" v="4462"/>
          <ac:graphicFrameMkLst>
            <pc:docMk/>
            <pc:sldMk cId="2834250383" sldId="2147309162"/>
            <ac:graphicFrameMk id="5" creationId="{111CE178-03DF-4919-842E-0B9B3F7BECEB}"/>
          </ac:graphicFrameMkLst>
        </pc:graphicFrameChg>
      </pc:sldChg>
      <pc:sldChg chg="modSp new add del mod">
        <pc:chgData name="Myrvag, Oda" userId="a8cbc5d5-a60f-469f-af81-81e559ffaccc" providerId="ADAL" clId="{81613F7F-5A23-4E29-8F93-D381433B8D2A}" dt="2022-05-06T13:42:27.644" v="4463" actId="47"/>
        <pc:sldMkLst>
          <pc:docMk/>
          <pc:sldMk cId="2262949618" sldId="2147309163"/>
        </pc:sldMkLst>
        <pc:spChg chg="mod">
          <ac:chgData name="Myrvag, Oda" userId="a8cbc5d5-a60f-469f-af81-81e559ffaccc" providerId="ADAL" clId="{81613F7F-5A23-4E29-8F93-D381433B8D2A}" dt="2022-05-06T12:58:44.216" v="490" actId="20577"/>
          <ac:spMkLst>
            <pc:docMk/>
            <pc:sldMk cId="2262949618" sldId="2147309163"/>
            <ac:spMk id="3" creationId="{312A6436-F59F-4FCA-A2C6-CAE80A0D2B65}"/>
          </ac:spMkLst>
        </pc:spChg>
      </pc:sldChg>
      <pc:sldChg chg="addSp delSp modSp new add del mod modNotesTx">
        <pc:chgData name="Myrvag, Oda" userId="a8cbc5d5-a60f-469f-af81-81e559ffaccc" providerId="ADAL" clId="{81613F7F-5A23-4E29-8F93-D381433B8D2A}" dt="2022-05-06T16:29:41.415" v="7100" actId="47"/>
        <pc:sldMkLst>
          <pc:docMk/>
          <pc:sldMk cId="3182013528" sldId="2147309164"/>
        </pc:sldMkLst>
        <pc:spChg chg="mod ord">
          <ac:chgData name="Myrvag, Oda" userId="a8cbc5d5-a60f-469f-af81-81e559ffaccc" providerId="ADAL" clId="{81613F7F-5A23-4E29-8F93-D381433B8D2A}" dt="2022-05-06T13:24:19.706" v="2838" actId="948"/>
          <ac:spMkLst>
            <pc:docMk/>
            <pc:sldMk cId="3182013528" sldId="2147309164"/>
            <ac:spMk id="2" creationId="{CF2C52B3-4CC2-4F87-820C-03300403C37C}"/>
          </ac:spMkLst>
        </pc:spChg>
        <pc:spChg chg="del">
          <ac:chgData name="Myrvag, Oda" userId="a8cbc5d5-a60f-469f-af81-81e559ffaccc" providerId="ADAL" clId="{81613F7F-5A23-4E29-8F93-D381433B8D2A}" dt="2022-05-06T12:58:59.296" v="552" actId="478"/>
          <ac:spMkLst>
            <pc:docMk/>
            <pc:sldMk cId="3182013528" sldId="2147309164"/>
            <ac:spMk id="3" creationId="{D90109BB-045E-46DC-8F0E-80081D5D222A}"/>
          </ac:spMkLst>
        </pc:spChg>
        <pc:spChg chg="add del mod">
          <ac:chgData name="Myrvag, Oda" userId="a8cbc5d5-a60f-469f-af81-81e559ffaccc" providerId="ADAL" clId="{81613F7F-5A23-4E29-8F93-D381433B8D2A}" dt="2022-05-06T13:05:24.240" v="1004" actId="478"/>
          <ac:spMkLst>
            <pc:docMk/>
            <pc:sldMk cId="3182013528" sldId="2147309164"/>
            <ac:spMk id="7" creationId="{9C5A6C23-F96E-4E7A-8B5C-EE1FBDC38C26}"/>
          </ac:spMkLst>
        </pc:spChg>
        <pc:spChg chg="add del mod">
          <ac:chgData name="Myrvag, Oda" userId="a8cbc5d5-a60f-469f-af81-81e559ffaccc" providerId="ADAL" clId="{81613F7F-5A23-4E29-8F93-D381433B8D2A}" dt="2022-05-06T13:05:24.746" v="1005" actId="478"/>
          <ac:spMkLst>
            <pc:docMk/>
            <pc:sldMk cId="3182013528" sldId="2147309164"/>
            <ac:spMk id="8" creationId="{93124928-1578-4ECF-B25F-CDD90ADE5FCC}"/>
          </ac:spMkLst>
        </pc:spChg>
        <pc:spChg chg="add mod ord">
          <ac:chgData name="Myrvag, Oda" userId="a8cbc5d5-a60f-469f-af81-81e559ffaccc" providerId="ADAL" clId="{81613F7F-5A23-4E29-8F93-D381433B8D2A}" dt="2022-05-06T13:37:31.265" v="4119" actId="20577"/>
          <ac:spMkLst>
            <pc:docMk/>
            <pc:sldMk cId="3182013528" sldId="2147309164"/>
            <ac:spMk id="9" creationId="{FC12715D-491C-40EF-A3E6-2EA585C1861C}"/>
          </ac:spMkLst>
        </pc:spChg>
        <pc:spChg chg="add mod ord">
          <ac:chgData name="Myrvag, Oda" userId="a8cbc5d5-a60f-469f-af81-81e559ffaccc" providerId="ADAL" clId="{81613F7F-5A23-4E29-8F93-D381433B8D2A}" dt="2022-05-06T13:40:10.874" v="4320" actId="1035"/>
          <ac:spMkLst>
            <pc:docMk/>
            <pc:sldMk cId="3182013528" sldId="2147309164"/>
            <ac:spMk id="14" creationId="{ADB19891-39AE-4323-81FA-035A192FAB38}"/>
          </ac:spMkLst>
        </pc:spChg>
        <pc:spChg chg="add mod ord">
          <ac:chgData name="Myrvag, Oda" userId="a8cbc5d5-a60f-469f-af81-81e559ffaccc" providerId="ADAL" clId="{81613F7F-5A23-4E29-8F93-D381433B8D2A}" dt="2022-05-06T13:43:33.484" v="4464" actId="14100"/>
          <ac:spMkLst>
            <pc:docMk/>
            <pc:sldMk cId="3182013528" sldId="2147309164"/>
            <ac:spMk id="15" creationId="{B142AD25-916B-44B3-84A5-E414DFB7A6BD}"/>
          </ac:spMkLst>
        </pc:spChg>
        <pc:spChg chg="add mod ord">
          <ac:chgData name="Myrvag, Oda" userId="a8cbc5d5-a60f-469f-af81-81e559ffaccc" providerId="ADAL" clId="{81613F7F-5A23-4E29-8F93-D381433B8D2A}" dt="2022-05-06T13:43:35.667" v="4465" actId="14100"/>
          <ac:spMkLst>
            <pc:docMk/>
            <pc:sldMk cId="3182013528" sldId="2147309164"/>
            <ac:spMk id="16" creationId="{535CD456-B0E8-4D20-A564-B35FC79B45A2}"/>
          </ac:spMkLst>
        </pc:spChg>
        <pc:spChg chg="add mod">
          <ac:chgData name="Myrvag, Oda" userId="a8cbc5d5-a60f-469f-af81-81e559ffaccc" providerId="ADAL" clId="{81613F7F-5A23-4E29-8F93-D381433B8D2A}" dt="2022-05-06T13:40:10.874" v="4320" actId="1035"/>
          <ac:spMkLst>
            <pc:docMk/>
            <pc:sldMk cId="3182013528" sldId="2147309164"/>
            <ac:spMk id="17" creationId="{C4ED1265-4A43-446C-82CC-2559460F8513}"/>
          </ac:spMkLst>
        </pc:spChg>
        <pc:spChg chg="add del mod modVis">
          <ac:chgData name="Myrvag, Oda" userId="a8cbc5d5-a60f-469f-af81-81e559ffaccc" providerId="ADAL" clId="{81613F7F-5A23-4E29-8F93-D381433B8D2A}" dt="2022-05-06T13:24:19.753" v="2877"/>
          <ac:spMkLst>
            <pc:docMk/>
            <pc:sldMk cId="3182013528" sldId="2147309164"/>
            <ac:spMk id="19" creationId="{E298C19D-8206-4F8E-AE66-0E0978D60E54}"/>
          </ac:spMkLst>
        </pc:spChg>
        <pc:spChg chg="add del mod">
          <ac:chgData name="Myrvag, Oda" userId="a8cbc5d5-a60f-469f-af81-81e559ffaccc" providerId="ADAL" clId="{81613F7F-5A23-4E29-8F93-D381433B8D2A}" dt="2022-05-06T13:28:28.585" v="3159" actId="478"/>
          <ac:spMkLst>
            <pc:docMk/>
            <pc:sldMk cId="3182013528" sldId="2147309164"/>
            <ac:spMk id="20" creationId="{11E395F3-AD91-4B13-BDD6-3CA071106533}"/>
          </ac:spMkLst>
        </pc:spChg>
        <pc:graphicFrameChg chg="add mod ord modVis">
          <ac:chgData name="Myrvag, Oda" userId="a8cbc5d5-a60f-469f-af81-81e559ffaccc" providerId="ADAL" clId="{81613F7F-5A23-4E29-8F93-D381433B8D2A}" dt="2022-05-06T13:24:19.757" v="2879"/>
          <ac:graphicFrameMkLst>
            <pc:docMk/>
            <pc:sldMk cId="3182013528" sldId="2147309164"/>
            <ac:graphicFrameMk id="4" creationId="{906CFA64-AA45-42BC-A6B7-84C1081B6D68}"/>
          </ac:graphicFrameMkLst>
        </pc:graphicFrameChg>
        <pc:picChg chg="add del mod">
          <ac:chgData name="Myrvag, Oda" userId="a8cbc5d5-a60f-469f-af81-81e559ffaccc" providerId="ADAL" clId="{81613F7F-5A23-4E29-8F93-D381433B8D2A}" dt="2022-05-06T13:04:33.042" v="996" actId="478"/>
          <ac:picMkLst>
            <pc:docMk/>
            <pc:sldMk cId="3182013528" sldId="2147309164"/>
            <ac:picMk id="6" creationId="{218F526E-C738-4A25-AE27-6CA35B2C1EA8}"/>
          </ac:picMkLst>
        </pc:picChg>
        <pc:picChg chg="add mod ord">
          <ac:chgData name="Myrvag, Oda" userId="a8cbc5d5-a60f-469f-af81-81e559ffaccc" providerId="ADAL" clId="{81613F7F-5A23-4E29-8F93-D381433B8D2A}" dt="2022-05-06T13:40:10.874" v="4320" actId="1035"/>
          <ac:picMkLst>
            <pc:docMk/>
            <pc:sldMk cId="3182013528" sldId="2147309164"/>
            <ac:picMk id="11" creationId="{70C68E7C-BB29-4637-A66C-1800C2374DF8}"/>
          </ac:picMkLst>
        </pc:picChg>
        <pc:picChg chg="add del mod ord">
          <ac:chgData name="Myrvag, Oda" userId="a8cbc5d5-a60f-469f-af81-81e559ffaccc" providerId="ADAL" clId="{81613F7F-5A23-4E29-8F93-D381433B8D2A}" dt="2022-05-06T13:22:33.460" v="2757" actId="478"/>
          <ac:picMkLst>
            <pc:docMk/>
            <pc:sldMk cId="3182013528" sldId="2147309164"/>
            <ac:picMk id="13" creationId="{4EEE0B9B-62BE-4540-BFBC-650B6B94D502}"/>
          </ac:picMkLst>
        </pc:picChg>
        <pc:picChg chg="add mod">
          <ac:chgData name="Myrvag, Oda" userId="a8cbc5d5-a60f-469f-af81-81e559ffaccc" providerId="ADAL" clId="{81613F7F-5A23-4E29-8F93-D381433B8D2A}" dt="2022-05-06T13:40:10.874" v="4320" actId="1035"/>
          <ac:picMkLst>
            <pc:docMk/>
            <pc:sldMk cId="3182013528" sldId="2147309164"/>
            <ac:picMk id="18" creationId="{E9B2653A-7B32-4016-881C-8ED6F89B63ED}"/>
          </ac:picMkLst>
        </pc:picChg>
      </pc:sldChg>
      <pc:sldChg chg="addSp delSp modSp new add mod ord modNotesTx">
        <pc:chgData name="Myrvag, Oda" userId="a8cbc5d5-a60f-469f-af81-81e559ffaccc" providerId="ADAL" clId="{81613F7F-5A23-4E29-8F93-D381433B8D2A}" dt="2022-05-10T07:21:09.643" v="25087" actId="20577"/>
        <pc:sldMkLst>
          <pc:docMk/>
          <pc:sldMk cId="2138468094" sldId="2147309165"/>
        </pc:sldMkLst>
        <pc:spChg chg="mod">
          <ac:chgData name="Myrvag, Oda" userId="a8cbc5d5-a60f-469f-af81-81e559ffaccc" providerId="ADAL" clId="{81613F7F-5A23-4E29-8F93-D381433B8D2A}" dt="2022-05-06T13:45:14.853" v="4858" actId="948"/>
          <ac:spMkLst>
            <pc:docMk/>
            <pc:sldMk cId="2138468094" sldId="2147309165"/>
            <ac:spMk id="2" creationId="{699A74CF-01A7-4B20-9683-DE8A6968D439}"/>
          </ac:spMkLst>
        </pc:spChg>
        <pc:spChg chg="del">
          <ac:chgData name="Myrvag, Oda" userId="a8cbc5d5-a60f-469f-af81-81e559ffaccc" providerId="ADAL" clId="{81613F7F-5A23-4E29-8F93-D381433B8D2A}" dt="2022-05-06T13:45:30.321" v="4901"/>
          <ac:spMkLst>
            <pc:docMk/>
            <pc:sldMk cId="2138468094" sldId="2147309165"/>
            <ac:spMk id="3" creationId="{6A8A5866-C586-4F85-80D6-13F3C3525D82}"/>
          </ac:spMkLst>
        </pc:spChg>
        <pc:spChg chg="add mod">
          <ac:chgData name="Myrvag, Oda" userId="a8cbc5d5-a60f-469f-af81-81e559ffaccc" providerId="ADAL" clId="{81613F7F-5A23-4E29-8F93-D381433B8D2A}" dt="2022-05-07T07:27:23.009" v="21157" actId="14100"/>
          <ac:spMkLst>
            <pc:docMk/>
            <pc:sldMk cId="2138468094" sldId="2147309165"/>
            <ac:spMk id="3" creationId="{6B20482D-E5B0-4885-81A2-8C07FCDAFC17}"/>
          </ac:spMkLst>
        </pc:spChg>
        <pc:spChg chg="add del mod modVis">
          <ac:chgData name="Myrvag, Oda" userId="a8cbc5d5-a60f-469f-af81-81e559ffaccc" providerId="ADAL" clId="{81613F7F-5A23-4E29-8F93-D381433B8D2A}" dt="2022-05-06T13:44:56.140" v="4527"/>
          <ac:spMkLst>
            <pc:docMk/>
            <pc:sldMk cId="2138468094" sldId="2147309165"/>
            <ac:spMk id="4" creationId="{6CB4D8FD-1D3A-46C4-954B-95D1C6C39B80}"/>
          </ac:spMkLst>
        </pc:spChg>
        <pc:spChg chg="add del mod modVis">
          <ac:chgData name="Myrvag, Oda" userId="a8cbc5d5-a60f-469f-af81-81e559ffaccc" providerId="ADAL" clId="{81613F7F-5A23-4E29-8F93-D381433B8D2A}" dt="2022-05-06T13:44:58.978" v="4587"/>
          <ac:spMkLst>
            <pc:docMk/>
            <pc:sldMk cId="2138468094" sldId="2147309165"/>
            <ac:spMk id="6" creationId="{43C37745-E664-4210-B076-0CB1F3CCFC76}"/>
          </ac:spMkLst>
        </pc:spChg>
        <pc:spChg chg="add del mod modVis">
          <ac:chgData name="Myrvag, Oda" userId="a8cbc5d5-a60f-469f-af81-81e559ffaccc" providerId="ADAL" clId="{81613F7F-5A23-4E29-8F93-D381433B8D2A}" dt="2022-05-06T13:45:06.239" v="4675"/>
          <ac:spMkLst>
            <pc:docMk/>
            <pc:sldMk cId="2138468094" sldId="2147309165"/>
            <ac:spMk id="7" creationId="{EF3918B8-BB2B-4F92-8CB0-D7D80BAF00AD}"/>
          </ac:spMkLst>
        </pc:spChg>
        <pc:spChg chg="add del mod modVis">
          <ac:chgData name="Myrvag, Oda" userId="a8cbc5d5-a60f-469f-af81-81e559ffaccc" providerId="ADAL" clId="{81613F7F-5A23-4E29-8F93-D381433B8D2A}" dt="2022-05-06T13:45:07.851" v="4723"/>
          <ac:spMkLst>
            <pc:docMk/>
            <pc:sldMk cId="2138468094" sldId="2147309165"/>
            <ac:spMk id="8" creationId="{58AFDC70-E263-4403-B9E2-050EDCECA5C7}"/>
          </ac:spMkLst>
        </pc:spChg>
        <pc:spChg chg="add del mod modVis">
          <ac:chgData name="Myrvag, Oda" userId="a8cbc5d5-a60f-469f-af81-81e559ffaccc" providerId="ADAL" clId="{81613F7F-5A23-4E29-8F93-D381433B8D2A}" dt="2022-05-06T13:45:10.314" v="4784"/>
          <ac:spMkLst>
            <pc:docMk/>
            <pc:sldMk cId="2138468094" sldId="2147309165"/>
            <ac:spMk id="9" creationId="{9DDFD78D-FCF2-4C40-AB89-64EEF8638E8D}"/>
          </ac:spMkLst>
        </pc:spChg>
        <pc:spChg chg="add del mod modVis">
          <ac:chgData name="Myrvag, Oda" userId="a8cbc5d5-a60f-469f-af81-81e559ffaccc" providerId="ADAL" clId="{81613F7F-5A23-4E29-8F93-D381433B8D2A}" dt="2022-05-06T13:45:12.207" v="4838"/>
          <ac:spMkLst>
            <pc:docMk/>
            <pc:sldMk cId="2138468094" sldId="2147309165"/>
            <ac:spMk id="10" creationId="{82D35166-6B4F-4FE5-A1CA-089BDBF0A30A}"/>
          </ac:spMkLst>
        </pc:spChg>
        <pc:spChg chg="add del mod modVis">
          <ac:chgData name="Myrvag, Oda" userId="a8cbc5d5-a60f-469f-af81-81e559ffaccc" providerId="ADAL" clId="{81613F7F-5A23-4E29-8F93-D381433B8D2A}" dt="2022-05-06T13:45:14.888" v="4897"/>
          <ac:spMkLst>
            <pc:docMk/>
            <pc:sldMk cId="2138468094" sldId="2147309165"/>
            <ac:spMk id="11" creationId="{63B36E27-39FB-491D-96E5-E835E41F91BB}"/>
          </ac:spMkLst>
        </pc:spChg>
        <pc:spChg chg="add del mod">
          <ac:chgData name="Myrvag, Oda" userId="a8cbc5d5-a60f-469f-af81-81e559ffaccc" providerId="ADAL" clId="{81613F7F-5A23-4E29-8F93-D381433B8D2A}" dt="2022-05-06T13:45:55.963" v="4904" actId="478"/>
          <ac:spMkLst>
            <pc:docMk/>
            <pc:sldMk cId="2138468094" sldId="2147309165"/>
            <ac:spMk id="15" creationId="{C1286D77-9513-4FC5-A210-740A0DBD92BA}"/>
          </ac:spMkLst>
        </pc:spChg>
        <pc:spChg chg="add 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22" creationId="{14D1EA76-B1E1-4178-BDB2-CB02BAC0BFA0}"/>
          </ac:spMkLst>
        </pc:spChg>
        <pc:spChg chg="add mod">
          <ac:chgData name="Myrvag, Oda" userId="a8cbc5d5-a60f-469f-af81-81e559ffaccc" providerId="ADAL" clId="{81613F7F-5A23-4E29-8F93-D381433B8D2A}" dt="2022-05-10T07:21:09.643" v="25087" actId="20577"/>
          <ac:spMkLst>
            <pc:docMk/>
            <pc:sldMk cId="2138468094" sldId="2147309165"/>
            <ac:spMk id="23" creationId="{41F2AEFC-58F3-4ABF-BDCC-D75B324831AF}"/>
          </ac:spMkLst>
        </pc:spChg>
        <pc:spChg chg="add del mod">
          <ac:chgData name="Myrvag, Oda" userId="a8cbc5d5-a60f-469f-af81-81e559ffaccc" providerId="ADAL" clId="{81613F7F-5A23-4E29-8F93-D381433B8D2A}" dt="2022-05-06T18:54:27.966" v="11661" actId="478"/>
          <ac:spMkLst>
            <pc:docMk/>
            <pc:sldMk cId="2138468094" sldId="2147309165"/>
            <ac:spMk id="24" creationId="{F0E9B338-207A-46AB-9AFC-75F7859051AE}"/>
          </ac:spMkLst>
        </pc:spChg>
        <pc:spChg chg="add mod">
          <ac:chgData name="Myrvag, Oda" userId="a8cbc5d5-a60f-469f-af81-81e559ffaccc" providerId="ADAL" clId="{81613F7F-5A23-4E29-8F93-D381433B8D2A}" dt="2022-05-06T18:54:44.590" v="11664" actId="14100"/>
          <ac:spMkLst>
            <pc:docMk/>
            <pc:sldMk cId="2138468094" sldId="2147309165"/>
            <ac:spMk id="26" creationId="{9329B418-3E1D-4B81-8E57-4367DA99E066}"/>
          </ac:spMkLst>
        </pc:spChg>
        <pc:spChg chg="add mod">
          <ac:chgData name="Myrvag, Oda" userId="a8cbc5d5-a60f-469f-af81-81e559ffaccc" providerId="ADAL" clId="{81613F7F-5A23-4E29-8F93-D381433B8D2A}" dt="2022-05-06T18:54:44.590" v="11664" actId="14100"/>
          <ac:spMkLst>
            <pc:docMk/>
            <pc:sldMk cId="2138468094" sldId="2147309165"/>
            <ac:spMk id="27" creationId="{C42CCB20-718D-460B-9883-0CBDC3FA4399}"/>
          </ac:spMkLst>
        </pc:spChg>
        <pc:spChg chg="add mod">
          <ac:chgData name="Myrvag, Oda" userId="a8cbc5d5-a60f-469f-af81-81e559ffaccc" providerId="ADAL" clId="{81613F7F-5A23-4E29-8F93-D381433B8D2A}" dt="2022-05-06T18:54:44.590" v="11664" actId="14100"/>
          <ac:spMkLst>
            <pc:docMk/>
            <pc:sldMk cId="2138468094" sldId="2147309165"/>
            <ac:spMk id="28" creationId="{3828D940-5551-47FD-AD89-F557010C2F59}"/>
          </ac:spMkLst>
        </pc:spChg>
        <pc:spChg chg="add mod">
          <ac:chgData name="Myrvag, Oda" userId="a8cbc5d5-a60f-469f-af81-81e559ffaccc" providerId="ADAL" clId="{81613F7F-5A23-4E29-8F93-D381433B8D2A}" dt="2022-05-06T18:54:44.590" v="11664" actId="14100"/>
          <ac:spMkLst>
            <pc:docMk/>
            <pc:sldMk cId="2138468094" sldId="2147309165"/>
            <ac:spMk id="29" creationId="{86BF2EE6-9F90-4D4F-94E9-3E863211A1BB}"/>
          </ac:spMkLst>
        </pc:spChg>
        <pc:spChg chg="add mod">
          <ac:chgData name="Myrvag, Oda" userId="a8cbc5d5-a60f-469f-af81-81e559ffaccc" providerId="ADAL" clId="{81613F7F-5A23-4E29-8F93-D381433B8D2A}" dt="2022-05-06T18:54:44.590" v="11664" actId="14100"/>
          <ac:spMkLst>
            <pc:docMk/>
            <pc:sldMk cId="2138468094" sldId="2147309165"/>
            <ac:spMk id="30" creationId="{18CCF7A2-C1E6-4C57-8FC4-FB460C5B7EDB}"/>
          </ac:spMkLst>
        </pc:spChg>
        <pc:spChg chg="add mod">
          <ac:chgData name="Myrvag, Oda" userId="a8cbc5d5-a60f-469f-af81-81e559ffaccc" providerId="ADAL" clId="{81613F7F-5A23-4E29-8F93-D381433B8D2A}" dt="2022-05-06T18:54:44.590" v="11664" actId="14100"/>
          <ac:spMkLst>
            <pc:docMk/>
            <pc:sldMk cId="2138468094" sldId="2147309165"/>
            <ac:spMk id="31" creationId="{D2904964-E44E-4F08-A19C-941B5ABB8B1A}"/>
          </ac:spMkLst>
        </pc:spChg>
        <pc:spChg chg="add mod">
          <ac:chgData name="Myrvag, Oda" userId="a8cbc5d5-a60f-469f-af81-81e559ffaccc" providerId="ADAL" clId="{81613F7F-5A23-4E29-8F93-D381433B8D2A}" dt="2022-05-06T18:54:44.590" v="11664" actId="14100"/>
          <ac:spMkLst>
            <pc:docMk/>
            <pc:sldMk cId="2138468094" sldId="2147309165"/>
            <ac:spMk id="32" creationId="{B594483C-B6CA-4378-B00E-00E087A1FCF9}"/>
          </ac:spMkLst>
        </pc:spChg>
        <pc:spChg chg="add mod">
          <ac:chgData name="Myrvag, Oda" userId="a8cbc5d5-a60f-469f-af81-81e559ffaccc" providerId="ADAL" clId="{81613F7F-5A23-4E29-8F93-D381433B8D2A}" dt="2022-05-06T18:54:44.590" v="11664" actId="14100"/>
          <ac:spMkLst>
            <pc:docMk/>
            <pc:sldMk cId="2138468094" sldId="2147309165"/>
            <ac:spMk id="33" creationId="{382BEE9B-FEC7-46CB-983D-21FF41DAEAAC}"/>
          </ac:spMkLst>
        </pc:spChg>
        <pc:spChg chg="add mod">
          <ac:chgData name="Myrvag, Oda" userId="a8cbc5d5-a60f-469f-af81-81e559ffaccc" providerId="ADAL" clId="{81613F7F-5A23-4E29-8F93-D381433B8D2A}" dt="2022-05-06T18:54:44.590" v="11664" actId="14100"/>
          <ac:spMkLst>
            <pc:docMk/>
            <pc:sldMk cId="2138468094" sldId="2147309165"/>
            <ac:spMk id="34" creationId="{F6300F07-C7C9-4CF9-9504-68EB5B24C15E}"/>
          </ac:spMkLst>
        </pc:spChg>
        <pc:spChg chg="add mod">
          <ac:chgData name="Myrvag, Oda" userId="a8cbc5d5-a60f-469f-af81-81e559ffaccc" providerId="ADAL" clId="{81613F7F-5A23-4E29-8F93-D381433B8D2A}" dt="2022-05-06T18:54:44.590" v="11664" actId="14100"/>
          <ac:spMkLst>
            <pc:docMk/>
            <pc:sldMk cId="2138468094" sldId="2147309165"/>
            <ac:spMk id="35" creationId="{1952AFC6-544D-4594-888B-862B827130DF}"/>
          </ac:spMkLst>
        </pc:spChg>
        <pc:spChg chg="add mod">
          <ac:chgData name="Myrvag, Oda" userId="a8cbc5d5-a60f-469f-af81-81e559ffaccc" providerId="ADAL" clId="{81613F7F-5A23-4E29-8F93-D381433B8D2A}" dt="2022-05-06T18:54:44.590" v="11664" actId="14100"/>
          <ac:spMkLst>
            <pc:docMk/>
            <pc:sldMk cId="2138468094" sldId="2147309165"/>
            <ac:spMk id="36" creationId="{C27FCEAD-89AF-4748-833A-43609CB451C5}"/>
          </ac:spMkLst>
        </pc:spChg>
        <pc:spChg chg="add 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37" creationId="{BCE48509-6C96-4A28-A076-56F52A59C07D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39" creationId="{D29971AD-3E5F-4974-B989-1656D87F9EC9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40" creationId="{FE75815B-6A50-4DD3-93FF-ABCF073B0569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41" creationId="{5AA0BDA5-4C15-4731-AF48-FFE5E1467AA0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42" creationId="{0415C083-58C2-42DD-A027-D6A4BA1E9E96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43" creationId="{22FE558B-3EA0-4EDB-8909-552EFD74CDE5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44" creationId="{984D0B31-F13A-44F2-A33A-78904BF9067D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45" creationId="{96D27188-DA32-40B6-8298-19B2CA3CBC78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46" creationId="{63426A33-332A-4DEA-A628-DE012E90436A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47" creationId="{124181ED-3A4C-479B-BCE9-DE2BB2DBF057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48" creationId="{9C1C698A-6B3D-4BA3-ACF6-404950FE1916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49" creationId="{9D2E33DF-8A43-4410-A567-D12132B6C498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50" creationId="{0298376A-E248-47FB-ABF4-3A993575EE22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51" creationId="{FA63BC9E-57CD-417E-B9BA-3B90A4511A05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52" creationId="{993F58F7-3B8B-4F3B-AF9F-703282C80024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53" creationId="{E1368875-4E33-4906-A0F2-B17F5155098C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54" creationId="{000904CF-8FFF-4CF6-8E60-9EEFEEE98EE6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55" creationId="{6A48B454-FEE4-4744-BDB1-2A1A3D1714F0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56" creationId="{25AE0B3D-5264-4F44-9CB9-524BF8E0EA60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57" creationId="{623E6253-8CEA-459C-BB8C-EC22BE2FFCE2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58" creationId="{338F6459-F7C7-42D4-A2E0-BFA8862ED663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59" creationId="{751C103C-FC72-4E3F-BD9F-649EF1BB5E12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60" creationId="{97BE13A9-AB3F-4902-9048-3815248988D5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61" creationId="{A834C27B-B9E2-4C3A-8820-295E243FED5B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62" creationId="{A7B73BDA-5A05-44EF-BBB0-8DA16791D700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63" creationId="{5F3C1327-8230-4E3A-94A2-0BCB7AFCE002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64" creationId="{F7654CDB-8204-412C-8454-2A1F9CBFFC75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65" creationId="{67BF909A-8541-4171-981D-636B20E66DC2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66" creationId="{EFB9DC14-3E3F-4E8E-8BA3-B98AD687146B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67" creationId="{8BD2F321-D2A1-4B99-977F-B98628D6DDD3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68" creationId="{8DFF5700-2641-41A1-840A-C3A606CE334C}"/>
          </ac:spMkLst>
        </pc:spChg>
        <pc:spChg chg="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69" creationId="{AE79371F-C0A2-4E5E-8DE2-3938386CA0C9}"/>
          </ac:spMkLst>
        </pc:spChg>
        <pc:spChg chg="add 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70" creationId="{9A0748CA-859E-41FC-A0BE-7300F57138BA}"/>
          </ac:spMkLst>
        </pc:spChg>
        <pc:spChg chg="mod">
          <ac:chgData name="Myrvag, Oda" userId="a8cbc5d5-a60f-469f-af81-81e559ffaccc" providerId="ADAL" clId="{81613F7F-5A23-4E29-8F93-D381433B8D2A}" dt="2022-05-06T19:00:36.855" v="12126" actId="688"/>
          <ac:spMkLst>
            <pc:docMk/>
            <pc:sldMk cId="2138468094" sldId="2147309165"/>
            <ac:spMk id="71" creationId="{B6BEE703-5E1E-48A0-9441-88DE22727E66}"/>
          </ac:spMkLst>
        </pc:spChg>
        <pc:spChg chg="mod">
          <ac:chgData name="Myrvag, Oda" userId="a8cbc5d5-a60f-469f-af81-81e559ffaccc" providerId="ADAL" clId="{81613F7F-5A23-4E29-8F93-D381433B8D2A}" dt="2022-05-06T19:00:36.855" v="12126" actId="688"/>
          <ac:spMkLst>
            <pc:docMk/>
            <pc:sldMk cId="2138468094" sldId="2147309165"/>
            <ac:spMk id="72" creationId="{A9444E82-C320-4383-8F36-C92D16C1324C}"/>
          </ac:spMkLst>
        </pc:spChg>
        <pc:spChg chg="mod">
          <ac:chgData name="Myrvag, Oda" userId="a8cbc5d5-a60f-469f-af81-81e559ffaccc" providerId="ADAL" clId="{81613F7F-5A23-4E29-8F93-D381433B8D2A}" dt="2022-05-06T19:00:51.135" v="12135" actId="1076"/>
          <ac:spMkLst>
            <pc:docMk/>
            <pc:sldMk cId="2138468094" sldId="2147309165"/>
            <ac:spMk id="74" creationId="{F80511D6-AEEB-4066-B312-B6C38AFFFC6F}"/>
          </ac:spMkLst>
        </pc:spChg>
        <pc:spChg chg="mod">
          <ac:chgData name="Myrvag, Oda" userId="a8cbc5d5-a60f-469f-af81-81e559ffaccc" providerId="ADAL" clId="{81613F7F-5A23-4E29-8F93-D381433B8D2A}" dt="2022-05-06T19:00:51.135" v="12135" actId="1076"/>
          <ac:spMkLst>
            <pc:docMk/>
            <pc:sldMk cId="2138468094" sldId="2147309165"/>
            <ac:spMk id="75" creationId="{85FBB75A-AD5E-4BDE-A75F-024ED4F7786F}"/>
          </ac:spMkLst>
        </pc:spChg>
        <pc:spChg chg="add 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76" creationId="{630F921D-4735-4686-805F-7670972EDEBF}"/>
          </ac:spMkLst>
        </pc:spChg>
        <pc:spChg chg="add 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77" creationId="{6BF963B2-3519-4777-82A3-F20013005170}"/>
          </ac:spMkLst>
        </pc:spChg>
        <pc:spChg chg="add 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78" creationId="{9525DFA7-3F81-4393-BB7C-7FADFA448418}"/>
          </ac:spMkLst>
        </pc:spChg>
        <pc:spChg chg="add 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79" creationId="{2EB32785-D378-48BB-9947-CFAF009125C7}"/>
          </ac:spMkLst>
        </pc:spChg>
        <pc:spChg chg="add 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80" creationId="{806B4D43-8AB9-418A-840F-06CD216B20BF}"/>
          </ac:spMkLst>
        </pc:spChg>
        <pc:spChg chg="add 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81" creationId="{8E687119-D76A-4DC1-9A03-0AF7E44A5240}"/>
          </ac:spMkLst>
        </pc:spChg>
        <pc:spChg chg="add del mod">
          <ac:chgData name="Myrvag, Oda" userId="a8cbc5d5-a60f-469f-af81-81e559ffaccc" providerId="ADAL" clId="{81613F7F-5A23-4E29-8F93-D381433B8D2A}" dt="2022-05-06T20:33:18.548" v="12450" actId="478"/>
          <ac:spMkLst>
            <pc:docMk/>
            <pc:sldMk cId="2138468094" sldId="2147309165"/>
            <ac:spMk id="82" creationId="{71EE7D41-EE77-461F-A661-C8426DBBFF65}"/>
          </ac:spMkLst>
        </pc:spChg>
        <pc:spChg chg="add 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83" creationId="{72A233AC-12CF-4696-B099-C575F1DB1A7C}"/>
          </ac:spMkLst>
        </pc:spChg>
        <pc:spChg chg="add 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84" creationId="{76593E15-FFA6-4D79-87AD-F7AC4D4A45B3}"/>
          </ac:spMkLst>
        </pc:spChg>
        <pc:spChg chg="add mod">
          <ac:chgData name="Myrvag, Oda" userId="a8cbc5d5-a60f-469f-af81-81e559ffaccc" providerId="ADAL" clId="{81613F7F-5A23-4E29-8F93-D381433B8D2A}" dt="2022-05-07T06:55:51.351" v="19922" actId="1035"/>
          <ac:spMkLst>
            <pc:docMk/>
            <pc:sldMk cId="2138468094" sldId="2147309165"/>
            <ac:spMk id="85" creationId="{B2B56754-88C0-4973-8D8E-F7A65ED38345}"/>
          </ac:spMkLst>
        </pc:spChg>
        <pc:spChg chg="add del mod">
          <ac:chgData name="Myrvag, Oda" userId="a8cbc5d5-a60f-469f-af81-81e559ffaccc" providerId="ADAL" clId="{81613F7F-5A23-4E29-8F93-D381433B8D2A}" dt="2022-05-06T20:58:31.357" v="14182"/>
          <ac:spMkLst>
            <pc:docMk/>
            <pc:sldMk cId="2138468094" sldId="2147309165"/>
            <ac:spMk id="86" creationId="{398859C6-4E0F-4C28-A115-6468C073FF57}"/>
          </ac:spMkLst>
        </pc:spChg>
        <pc:spChg chg="mod">
          <ac:chgData name="Myrvag, Oda" userId="a8cbc5d5-a60f-469f-af81-81e559ffaccc" providerId="ADAL" clId="{81613F7F-5A23-4E29-8F93-D381433B8D2A}" dt="2022-05-06T20:58:28.736" v="14179"/>
          <ac:spMkLst>
            <pc:docMk/>
            <pc:sldMk cId="2138468094" sldId="2147309165"/>
            <ac:spMk id="88" creationId="{80ED8AC3-CBF9-4FF9-8D0C-68AC2294F9B4}"/>
          </ac:spMkLst>
        </pc:spChg>
        <pc:spChg chg="mod">
          <ac:chgData name="Myrvag, Oda" userId="a8cbc5d5-a60f-469f-af81-81e559ffaccc" providerId="ADAL" clId="{81613F7F-5A23-4E29-8F93-D381433B8D2A}" dt="2022-05-06T20:58:28.736" v="14179"/>
          <ac:spMkLst>
            <pc:docMk/>
            <pc:sldMk cId="2138468094" sldId="2147309165"/>
            <ac:spMk id="89" creationId="{E8B6094D-B5E8-41D8-837F-7254685EA70B}"/>
          </ac:spMkLst>
        </pc:spChg>
        <pc:spChg chg="add del mod">
          <ac:chgData name="Myrvag, Oda" userId="a8cbc5d5-a60f-469f-af81-81e559ffaccc" providerId="ADAL" clId="{81613F7F-5A23-4E29-8F93-D381433B8D2A}" dt="2022-05-06T21:09:00.053" v="14698" actId="478"/>
          <ac:spMkLst>
            <pc:docMk/>
            <pc:sldMk cId="2138468094" sldId="2147309165"/>
            <ac:spMk id="90" creationId="{32580261-A350-4873-ABD8-D54C48BB2BDC}"/>
          </ac:spMkLst>
        </pc:spChg>
        <pc:grpChg chg="add del mod">
          <ac:chgData name="Myrvag, Oda" userId="a8cbc5d5-a60f-469f-af81-81e559ffaccc" providerId="ADAL" clId="{81613F7F-5A23-4E29-8F93-D381433B8D2A}" dt="2022-05-06T18:54:45.250" v="11665" actId="478"/>
          <ac:grpSpMkLst>
            <pc:docMk/>
            <pc:sldMk cId="2138468094" sldId="2147309165"/>
            <ac:grpSpMk id="25" creationId="{F373872D-D703-473E-B5EF-B34D4E63C9B4}"/>
          </ac:grpSpMkLst>
        </pc:grpChg>
        <pc:grpChg chg="add mod">
          <ac:chgData name="Myrvag, Oda" userId="a8cbc5d5-a60f-469f-af81-81e559ffaccc" providerId="ADAL" clId="{81613F7F-5A23-4E29-8F93-D381433B8D2A}" dt="2022-05-07T06:55:51.351" v="19922" actId="1035"/>
          <ac:grpSpMkLst>
            <pc:docMk/>
            <pc:sldMk cId="2138468094" sldId="2147309165"/>
            <ac:grpSpMk id="38" creationId="{487E1BD9-C4D2-40E8-AB96-A2FE2D1E2D5D}"/>
          </ac:grpSpMkLst>
        </pc:grpChg>
        <pc:grpChg chg="add del mod">
          <ac:chgData name="Myrvag, Oda" userId="a8cbc5d5-a60f-469f-af81-81e559ffaccc" providerId="ADAL" clId="{81613F7F-5A23-4E29-8F93-D381433B8D2A}" dt="2022-05-06T19:01:10.549" v="12137" actId="478"/>
          <ac:grpSpMkLst>
            <pc:docMk/>
            <pc:sldMk cId="2138468094" sldId="2147309165"/>
            <ac:grpSpMk id="70" creationId="{413C8820-DCB9-4AF2-9BDC-F4404CB22199}"/>
          </ac:grpSpMkLst>
        </pc:grpChg>
        <pc:grpChg chg="add del mod">
          <ac:chgData name="Myrvag, Oda" userId="a8cbc5d5-a60f-469f-af81-81e559ffaccc" providerId="ADAL" clId="{81613F7F-5A23-4E29-8F93-D381433B8D2A}" dt="2022-05-06T19:01:13.150" v="12138" actId="478"/>
          <ac:grpSpMkLst>
            <pc:docMk/>
            <pc:sldMk cId="2138468094" sldId="2147309165"/>
            <ac:grpSpMk id="73" creationId="{576D2062-71C1-42C1-AABC-B5B7389F4998}"/>
          </ac:grpSpMkLst>
        </pc:grpChg>
        <pc:grpChg chg="add del mod">
          <ac:chgData name="Myrvag, Oda" userId="a8cbc5d5-a60f-469f-af81-81e559ffaccc" providerId="ADAL" clId="{81613F7F-5A23-4E29-8F93-D381433B8D2A}" dt="2022-05-06T20:58:31.353" v="14180" actId="478"/>
          <ac:grpSpMkLst>
            <pc:docMk/>
            <pc:sldMk cId="2138468094" sldId="2147309165"/>
            <ac:grpSpMk id="87" creationId="{E07C96CD-EAB2-401E-83BA-ECE385E2A9BC}"/>
          </ac:grpSpMkLst>
        </pc:grpChg>
        <pc:graphicFrameChg chg="add mod ord modVis">
          <ac:chgData name="Myrvag, Oda" userId="a8cbc5d5-a60f-469f-af81-81e559ffaccc" providerId="ADAL" clId="{81613F7F-5A23-4E29-8F93-D381433B8D2A}" dt="2022-05-06T13:45:14.891" v="4899"/>
          <ac:graphicFrameMkLst>
            <pc:docMk/>
            <pc:sldMk cId="2138468094" sldId="2147309165"/>
            <ac:graphicFrameMk id="5" creationId="{AEBF1A55-D745-4454-A212-352D8BBDD4AC}"/>
          </ac:graphicFrameMkLst>
        </pc:graphicFrameChg>
        <pc:picChg chg="add mod">
          <ac:chgData name="Myrvag, Oda" userId="a8cbc5d5-a60f-469f-af81-81e559ffaccc" providerId="ADAL" clId="{81613F7F-5A23-4E29-8F93-D381433B8D2A}" dt="2022-05-09T12:57:03.411" v="23401" actId="1076"/>
          <ac:picMkLst>
            <pc:docMk/>
            <pc:sldMk cId="2138468094" sldId="2147309165"/>
            <ac:picMk id="6" creationId="{DD895F63-56F3-4096-9D0E-6E392E9E75F9}"/>
          </ac:picMkLst>
        </pc:picChg>
        <pc:picChg chg="add del mod ord">
          <ac:chgData name="Myrvag, Oda" userId="a8cbc5d5-a60f-469f-af81-81e559ffaccc" providerId="ADAL" clId="{81613F7F-5A23-4E29-8F93-D381433B8D2A}" dt="2022-05-06T13:45:53.969" v="4903" actId="478"/>
          <ac:picMkLst>
            <pc:docMk/>
            <pc:sldMk cId="2138468094" sldId="2147309165"/>
            <ac:picMk id="13" creationId="{91A74B9C-CD3F-45F0-BF62-00B463668221}"/>
          </ac:picMkLst>
        </pc:picChg>
        <pc:picChg chg="add del mod">
          <ac:chgData name="Myrvag, Oda" userId="a8cbc5d5-a60f-469f-af81-81e559ffaccc" providerId="ADAL" clId="{81613F7F-5A23-4E29-8F93-D381433B8D2A}" dt="2022-05-06T18:49:24.794" v="11446" actId="478"/>
          <ac:picMkLst>
            <pc:docMk/>
            <pc:sldMk cId="2138468094" sldId="2147309165"/>
            <ac:picMk id="16" creationId="{809DFC10-D72C-4387-8FDB-6066A0F3804C}"/>
          </ac:picMkLst>
        </pc:picChg>
        <pc:picChg chg="add del mod">
          <ac:chgData name="Myrvag, Oda" userId="a8cbc5d5-a60f-469f-af81-81e559ffaccc" providerId="ADAL" clId="{81613F7F-5A23-4E29-8F93-D381433B8D2A}" dt="2022-05-06T18:49:24.235" v="11445" actId="478"/>
          <ac:picMkLst>
            <pc:docMk/>
            <pc:sldMk cId="2138468094" sldId="2147309165"/>
            <ac:picMk id="17" creationId="{EDB2590D-B6CC-43AB-B559-30EAB54D4DFF}"/>
          </ac:picMkLst>
        </pc:picChg>
        <pc:picChg chg="add del mod">
          <ac:chgData name="Myrvag, Oda" userId="a8cbc5d5-a60f-469f-af81-81e559ffaccc" providerId="ADAL" clId="{81613F7F-5A23-4E29-8F93-D381433B8D2A}" dt="2022-05-09T12:56:42.752" v="23395" actId="478"/>
          <ac:picMkLst>
            <pc:docMk/>
            <pc:sldMk cId="2138468094" sldId="2147309165"/>
            <ac:picMk id="18" creationId="{2888C421-F6A9-4361-926D-91A61A0A2D97}"/>
          </ac:picMkLst>
        </pc:picChg>
        <pc:picChg chg="add del mod">
          <ac:chgData name="Myrvag, Oda" userId="a8cbc5d5-a60f-469f-af81-81e559ffaccc" providerId="ADAL" clId="{81613F7F-5A23-4E29-8F93-D381433B8D2A}" dt="2022-05-09T12:57:04.846" v="23402" actId="478"/>
          <ac:picMkLst>
            <pc:docMk/>
            <pc:sldMk cId="2138468094" sldId="2147309165"/>
            <ac:picMk id="19" creationId="{C3F002E9-83E9-4A1F-BF4D-8305CD01BF6E}"/>
          </ac:picMkLst>
        </pc:picChg>
        <pc:picChg chg="add del mod modCrop">
          <ac:chgData name="Myrvag, Oda" userId="a8cbc5d5-a60f-469f-af81-81e559ffaccc" providerId="ADAL" clId="{81613F7F-5A23-4E29-8F93-D381433B8D2A}" dt="2022-05-09T12:55:44.706" v="23385" actId="478"/>
          <ac:picMkLst>
            <pc:docMk/>
            <pc:sldMk cId="2138468094" sldId="2147309165"/>
            <ac:picMk id="21" creationId="{9A76E1C0-F3A7-4CEF-9C54-FCCDE391D88A}"/>
          </ac:picMkLst>
        </pc:picChg>
        <pc:picChg chg="add mod">
          <ac:chgData name="Myrvag, Oda" userId="a8cbc5d5-a60f-469f-af81-81e559ffaccc" providerId="ADAL" clId="{81613F7F-5A23-4E29-8F93-D381433B8D2A}" dt="2022-05-09T12:56:58.261" v="23399" actId="1076"/>
          <ac:picMkLst>
            <pc:docMk/>
            <pc:sldMk cId="2138468094" sldId="2147309165"/>
            <ac:picMk id="71" creationId="{0DD22B74-81AE-4095-A183-CD758D21CD89}"/>
          </ac:picMkLst>
        </pc:picChg>
        <pc:picChg chg="add mod">
          <ac:chgData name="Myrvag, Oda" userId="a8cbc5d5-a60f-469f-af81-81e559ffaccc" providerId="ADAL" clId="{81613F7F-5A23-4E29-8F93-D381433B8D2A}" dt="2022-05-09T12:57:29.066" v="23409" actId="1076"/>
          <ac:picMkLst>
            <pc:docMk/>
            <pc:sldMk cId="2138468094" sldId="2147309165"/>
            <ac:picMk id="72" creationId="{406413BA-8B6F-47CF-BD89-188C61F6BE02}"/>
          </ac:picMkLst>
        </pc:picChg>
      </pc:sldChg>
      <pc:sldChg chg="del">
        <pc:chgData name="Myrvag, Oda" userId="a8cbc5d5-a60f-469f-af81-81e559ffaccc" providerId="ADAL" clId="{81613F7F-5A23-4E29-8F93-D381433B8D2A}" dt="2022-05-06T16:30:29.853" v="7121" actId="47"/>
        <pc:sldMkLst>
          <pc:docMk/>
          <pc:sldMk cId="3992441897" sldId="2147309166"/>
        </pc:sldMkLst>
      </pc:sldChg>
      <pc:sldChg chg="addSp delSp modSp new add del mod">
        <pc:chgData name="Myrvag, Oda" userId="a8cbc5d5-a60f-469f-af81-81e559ffaccc" providerId="ADAL" clId="{81613F7F-5A23-4E29-8F93-D381433B8D2A}" dt="2022-05-06T16:47:49.203" v="9021" actId="47"/>
        <pc:sldMkLst>
          <pc:docMk/>
          <pc:sldMk cId="3711962434" sldId="2147309167"/>
        </pc:sldMkLst>
        <pc:spChg chg="del mod ord">
          <ac:chgData name="Myrvag, Oda" userId="a8cbc5d5-a60f-469f-af81-81e559ffaccc" providerId="ADAL" clId="{81613F7F-5A23-4E29-8F93-D381433B8D2A}" dt="2022-05-06T16:34:01.702" v="7715" actId="478"/>
          <ac:spMkLst>
            <pc:docMk/>
            <pc:sldMk cId="3711962434" sldId="2147309167"/>
            <ac:spMk id="2" creationId="{3144CB88-8BBB-46A7-934A-0DB34D0B6E67}"/>
          </ac:spMkLst>
        </pc:spChg>
        <pc:spChg chg="del">
          <ac:chgData name="Myrvag, Oda" userId="a8cbc5d5-a60f-469f-af81-81e559ffaccc" providerId="ADAL" clId="{81613F7F-5A23-4E29-8F93-D381433B8D2A}" dt="2022-05-06T16:03:35.101" v="5010" actId="478"/>
          <ac:spMkLst>
            <pc:docMk/>
            <pc:sldMk cId="3711962434" sldId="2147309167"/>
            <ac:spMk id="3" creationId="{E2CBA344-85D6-4BBA-B4B0-ED8B20F0E138}"/>
          </ac:spMkLst>
        </pc:spChg>
        <pc:spChg chg="add mod ord">
          <ac:chgData name="Myrvag, Oda" userId="a8cbc5d5-a60f-469f-af81-81e559ffaccc" providerId="ADAL" clId="{81613F7F-5A23-4E29-8F93-D381433B8D2A}" dt="2022-05-06T16:20:12.978" v="6201" actId="20577"/>
          <ac:spMkLst>
            <pc:docMk/>
            <pc:sldMk cId="3711962434" sldId="2147309167"/>
            <ac:spMk id="5" creationId="{6D1DD5A1-4DE5-429C-A09D-6777DDAC2252}"/>
          </ac:spMkLst>
        </pc:spChg>
        <pc:spChg chg="add mod ord">
          <ac:chgData name="Myrvag, Oda" userId="a8cbc5d5-a60f-469f-af81-81e559ffaccc" providerId="ADAL" clId="{81613F7F-5A23-4E29-8F93-D381433B8D2A}" dt="2022-05-06T16:22:39.026" v="6288" actId="20577"/>
          <ac:spMkLst>
            <pc:docMk/>
            <pc:sldMk cId="3711962434" sldId="2147309167"/>
            <ac:spMk id="7" creationId="{F8527C33-0580-43A1-869B-461B68DC2AAA}"/>
          </ac:spMkLst>
        </pc:spChg>
        <pc:spChg chg="add mod ord">
          <ac:chgData name="Myrvag, Oda" userId="a8cbc5d5-a60f-469f-af81-81e559ffaccc" providerId="ADAL" clId="{81613F7F-5A23-4E29-8F93-D381433B8D2A}" dt="2022-05-06T16:19:58.582" v="6187" actId="1036"/>
          <ac:spMkLst>
            <pc:docMk/>
            <pc:sldMk cId="3711962434" sldId="2147309167"/>
            <ac:spMk id="8" creationId="{81AF0185-6617-442A-9C9B-48221C870153}"/>
          </ac:spMkLst>
        </pc:spChg>
        <pc:spChg chg="add del mod">
          <ac:chgData name="Myrvag, Oda" userId="a8cbc5d5-a60f-469f-af81-81e559ffaccc" providerId="ADAL" clId="{81613F7F-5A23-4E29-8F93-D381433B8D2A}" dt="2022-05-06T16:06:40.367" v="5534" actId="478"/>
          <ac:spMkLst>
            <pc:docMk/>
            <pc:sldMk cId="3711962434" sldId="2147309167"/>
            <ac:spMk id="9" creationId="{9D487F44-ECC2-41A7-8CD5-56F9F0077E2F}"/>
          </ac:spMkLst>
        </pc:spChg>
        <pc:spChg chg="add mod ord">
          <ac:chgData name="Myrvag, Oda" userId="a8cbc5d5-a60f-469f-af81-81e559ffaccc" providerId="ADAL" clId="{81613F7F-5A23-4E29-8F93-D381433B8D2A}" dt="2022-05-06T16:19:58.582" v="6187" actId="1036"/>
          <ac:spMkLst>
            <pc:docMk/>
            <pc:sldMk cId="3711962434" sldId="2147309167"/>
            <ac:spMk id="10" creationId="{A5B67B4C-07CC-4FC2-B350-46A63A6ACA6D}"/>
          </ac:spMkLst>
        </pc:spChg>
        <pc:spChg chg="add mod ord">
          <ac:chgData name="Myrvag, Oda" userId="a8cbc5d5-a60f-469f-af81-81e559ffaccc" providerId="ADAL" clId="{81613F7F-5A23-4E29-8F93-D381433B8D2A}" dt="2022-05-06T16:19:58.582" v="6187" actId="1036"/>
          <ac:spMkLst>
            <pc:docMk/>
            <pc:sldMk cId="3711962434" sldId="2147309167"/>
            <ac:spMk id="11" creationId="{D4061D49-3770-4E9E-A5D3-877C04449426}"/>
          </ac:spMkLst>
        </pc:spChg>
        <pc:spChg chg="add mod ord">
          <ac:chgData name="Myrvag, Oda" userId="a8cbc5d5-a60f-469f-af81-81e559ffaccc" providerId="ADAL" clId="{81613F7F-5A23-4E29-8F93-D381433B8D2A}" dt="2022-05-06T16:19:58.582" v="6187" actId="1036"/>
          <ac:spMkLst>
            <pc:docMk/>
            <pc:sldMk cId="3711962434" sldId="2147309167"/>
            <ac:spMk id="12" creationId="{F4658979-7B79-4F9D-9605-BB77F332F10A}"/>
          </ac:spMkLst>
        </pc:spChg>
        <pc:spChg chg="add mod ord">
          <ac:chgData name="Myrvag, Oda" userId="a8cbc5d5-a60f-469f-af81-81e559ffaccc" providerId="ADAL" clId="{81613F7F-5A23-4E29-8F93-D381433B8D2A}" dt="2022-05-06T16:19:58.582" v="6187" actId="1036"/>
          <ac:spMkLst>
            <pc:docMk/>
            <pc:sldMk cId="3711962434" sldId="2147309167"/>
            <ac:spMk id="13" creationId="{6FA4CA2A-1180-4A6C-A15B-7FF67C49B737}"/>
          </ac:spMkLst>
        </pc:spChg>
        <pc:spChg chg="add mod ord">
          <ac:chgData name="Myrvag, Oda" userId="a8cbc5d5-a60f-469f-af81-81e559ffaccc" providerId="ADAL" clId="{81613F7F-5A23-4E29-8F93-D381433B8D2A}" dt="2022-05-06T16:19:58.582" v="6187" actId="1036"/>
          <ac:spMkLst>
            <pc:docMk/>
            <pc:sldMk cId="3711962434" sldId="2147309167"/>
            <ac:spMk id="14" creationId="{2AF90FC3-6F3F-4BE7-AC89-0E2E1E29E330}"/>
          </ac:spMkLst>
        </pc:spChg>
        <pc:spChg chg="add mod ord">
          <ac:chgData name="Myrvag, Oda" userId="a8cbc5d5-a60f-469f-af81-81e559ffaccc" providerId="ADAL" clId="{81613F7F-5A23-4E29-8F93-D381433B8D2A}" dt="2022-05-06T16:19:58.582" v="6187" actId="1036"/>
          <ac:spMkLst>
            <pc:docMk/>
            <pc:sldMk cId="3711962434" sldId="2147309167"/>
            <ac:spMk id="15" creationId="{154DDD30-3398-467F-8237-DD38C803E765}"/>
          </ac:spMkLst>
        </pc:spChg>
        <pc:spChg chg="add mod ord">
          <ac:chgData name="Myrvag, Oda" userId="a8cbc5d5-a60f-469f-af81-81e559ffaccc" providerId="ADAL" clId="{81613F7F-5A23-4E29-8F93-D381433B8D2A}" dt="2022-05-06T16:19:58.582" v="6187" actId="1036"/>
          <ac:spMkLst>
            <pc:docMk/>
            <pc:sldMk cId="3711962434" sldId="2147309167"/>
            <ac:spMk id="16" creationId="{B4DA61C8-0B26-4080-839B-BDFD96CF47B0}"/>
          </ac:spMkLst>
        </pc:spChg>
        <pc:spChg chg="add del mod">
          <ac:chgData name="Myrvag, Oda" userId="a8cbc5d5-a60f-469f-af81-81e559ffaccc" providerId="ADAL" clId="{81613F7F-5A23-4E29-8F93-D381433B8D2A}" dt="2022-05-06T16:07:55.416" v="5596" actId="478"/>
          <ac:spMkLst>
            <pc:docMk/>
            <pc:sldMk cId="3711962434" sldId="2147309167"/>
            <ac:spMk id="17" creationId="{072F7337-7133-4E07-A2F8-B92B3B80EDB4}"/>
          </ac:spMkLst>
        </pc:spChg>
        <pc:spChg chg="add mod ord">
          <ac:chgData name="Myrvag, Oda" userId="a8cbc5d5-a60f-469f-af81-81e559ffaccc" providerId="ADAL" clId="{81613F7F-5A23-4E29-8F93-D381433B8D2A}" dt="2022-05-06T16:19:58.582" v="6187" actId="1036"/>
          <ac:spMkLst>
            <pc:docMk/>
            <pc:sldMk cId="3711962434" sldId="2147309167"/>
            <ac:spMk id="20" creationId="{7C8AA404-1545-4DC3-8463-E58A155F88BE}"/>
          </ac:spMkLst>
        </pc:spChg>
        <pc:spChg chg="add del mod">
          <ac:chgData name="Myrvag, Oda" userId="a8cbc5d5-a60f-469f-af81-81e559ffaccc" providerId="ADAL" clId="{81613F7F-5A23-4E29-8F93-D381433B8D2A}" dt="2022-05-06T16:16:47.005" v="5987"/>
          <ac:spMkLst>
            <pc:docMk/>
            <pc:sldMk cId="3711962434" sldId="2147309167"/>
            <ac:spMk id="21" creationId="{1804F3B4-87F1-497C-942A-1121204796F7}"/>
          </ac:spMkLst>
        </pc:spChg>
        <pc:spChg chg="add mod">
          <ac:chgData name="Myrvag, Oda" userId="a8cbc5d5-a60f-469f-af81-81e559ffaccc" providerId="ADAL" clId="{81613F7F-5A23-4E29-8F93-D381433B8D2A}" dt="2022-05-06T16:35:51.536" v="8008" actId="20577"/>
          <ac:spMkLst>
            <pc:docMk/>
            <pc:sldMk cId="3711962434" sldId="2147309167"/>
            <ac:spMk id="22" creationId="{0755B4A8-2215-478F-864E-8BDAD7E454DC}"/>
          </ac:spMkLst>
        </pc:spChg>
        <pc:spChg chg="add del mod">
          <ac:chgData name="Myrvag, Oda" userId="a8cbc5d5-a60f-469f-af81-81e559ffaccc" providerId="ADAL" clId="{81613F7F-5A23-4E29-8F93-D381433B8D2A}" dt="2022-05-06T16:22:16.334" v="6239" actId="478"/>
          <ac:spMkLst>
            <pc:docMk/>
            <pc:sldMk cId="3711962434" sldId="2147309167"/>
            <ac:spMk id="23" creationId="{F1748747-F93A-46F3-B846-42E010880AE9}"/>
          </ac:spMkLst>
        </pc:spChg>
        <pc:spChg chg="add del mod">
          <ac:chgData name="Myrvag, Oda" userId="a8cbc5d5-a60f-469f-af81-81e559ffaccc" providerId="ADAL" clId="{81613F7F-5A23-4E29-8F93-D381433B8D2A}" dt="2022-05-06T16:34:06.099" v="7719" actId="478"/>
          <ac:spMkLst>
            <pc:docMk/>
            <pc:sldMk cId="3711962434" sldId="2147309167"/>
            <ac:spMk id="25" creationId="{B8C5C783-2D63-4867-B34A-FEC17C7515CB}"/>
          </ac:spMkLst>
        </pc:spChg>
        <pc:spChg chg="add mod">
          <ac:chgData name="Myrvag, Oda" userId="a8cbc5d5-a60f-469f-af81-81e559ffaccc" providerId="ADAL" clId="{81613F7F-5A23-4E29-8F93-D381433B8D2A}" dt="2022-05-06T16:34:12.863" v="7742" actId="20577"/>
          <ac:spMkLst>
            <pc:docMk/>
            <pc:sldMk cId="3711962434" sldId="2147309167"/>
            <ac:spMk id="26" creationId="{ED6677F5-520C-4463-987D-9A62AEC94A32}"/>
          </ac:spMkLst>
        </pc:spChg>
        <pc:graphicFrameChg chg="add mod ord modVis">
          <ac:chgData name="Myrvag, Oda" userId="a8cbc5d5-a60f-469f-af81-81e559ffaccc" providerId="ADAL" clId="{81613F7F-5A23-4E29-8F93-D381433B8D2A}" dt="2022-05-06T16:34:06.300" v="7721"/>
          <ac:graphicFrameMkLst>
            <pc:docMk/>
            <pc:sldMk cId="3711962434" sldId="2147309167"/>
            <ac:graphicFrameMk id="4" creationId="{0713B360-6832-4579-9F39-37C46A2B0E68}"/>
          </ac:graphicFrameMkLst>
        </pc:graphicFrameChg>
        <pc:picChg chg="add del mod">
          <ac:chgData name="Myrvag, Oda" userId="a8cbc5d5-a60f-469f-af81-81e559ffaccc" providerId="ADAL" clId="{81613F7F-5A23-4E29-8F93-D381433B8D2A}" dt="2022-05-06T16:08:24.640" v="5620" actId="478"/>
          <ac:picMkLst>
            <pc:docMk/>
            <pc:sldMk cId="3711962434" sldId="2147309167"/>
            <ac:picMk id="6" creationId="{DD9500D7-553C-4A35-95ED-047C166BEF4A}"/>
          </ac:picMkLst>
        </pc:picChg>
        <pc:picChg chg="add mod ord">
          <ac:chgData name="Myrvag, Oda" userId="a8cbc5d5-a60f-469f-af81-81e559ffaccc" providerId="ADAL" clId="{81613F7F-5A23-4E29-8F93-D381433B8D2A}" dt="2022-05-06T16:19:58.582" v="6187" actId="1036"/>
          <ac:picMkLst>
            <pc:docMk/>
            <pc:sldMk cId="3711962434" sldId="2147309167"/>
            <ac:picMk id="19" creationId="{2F665A5B-67BD-483F-9E23-A81AD80D67FE}"/>
          </ac:picMkLst>
        </pc:picChg>
      </pc:sldChg>
      <pc:sldChg chg="addSp delSp modSp add mod addCm delCm modCm modNotesTx">
        <pc:chgData name="Myrvag, Oda" userId="a8cbc5d5-a60f-469f-af81-81e559ffaccc" providerId="ADAL" clId="{81613F7F-5A23-4E29-8F93-D381433B8D2A}" dt="2022-05-10T07:14:14.035" v="24424" actId="20577"/>
        <pc:sldMkLst>
          <pc:docMk/>
          <pc:sldMk cId="1544909723" sldId="2147309168"/>
        </pc:sldMkLst>
        <pc:spChg chg="del mod">
          <ac:chgData name="Myrvag, Oda" userId="a8cbc5d5-a60f-469f-af81-81e559ffaccc" providerId="ADAL" clId="{81613F7F-5A23-4E29-8F93-D381433B8D2A}" dt="2022-05-06T16:33:44.730" v="7647" actId="478"/>
          <ac:spMkLst>
            <pc:docMk/>
            <pc:sldMk cId="1544909723" sldId="2147309168"/>
            <ac:spMk id="2" creationId="{3144CB88-8BBB-46A7-934A-0DB34D0B6E67}"/>
          </ac:spMkLst>
        </pc:spChg>
        <pc:spChg chg="mod">
          <ac:chgData name="Myrvag, Oda" userId="a8cbc5d5-a60f-469f-af81-81e559ffaccc" providerId="ADAL" clId="{81613F7F-5A23-4E29-8F93-D381433B8D2A}" dt="2022-05-06T17:06:42.545" v="10850" actId="20577"/>
          <ac:spMkLst>
            <pc:docMk/>
            <pc:sldMk cId="1544909723" sldId="2147309168"/>
            <ac:spMk id="5" creationId="{6D1DD5A1-4DE5-429C-A09D-6777DDAC2252}"/>
          </ac:spMkLst>
        </pc:spChg>
        <pc:spChg chg="mod">
          <ac:chgData name="Myrvag, Oda" userId="a8cbc5d5-a60f-469f-af81-81e559ffaccc" providerId="ADAL" clId="{81613F7F-5A23-4E29-8F93-D381433B8D2A}" dt="2022-05-06T17:00:59.492" v="10218" actId="14100"/>
          <ac:spMkLst>
            <pc:docMk/>
            <pc:sldMk cId="1544909723" sldId="2147309168"/>
            <ac:spMk id="8" creationId="{81AF0185-6617-442A-9C9B-48221C870153}"/>
          </ac:spMkLst>
        </pc:spChg>
        <pc:spChg chg="mod">
          <ac:chgData name="Myrvag, Oda" userId="a8cbc5d5-a60f-469f-af81-81e559ffaccc" providerId="ADAL" clId="{81613F7F-5A23-4E29-8F93-D381433B8D2A}" dt="2022-05-10T07:13:06.972" v="24390" actId="20577"/>
          <ac:spMkLst>
            <pc:docMk/>
            <pc:sldMk cId="1544909723" sldId="2147309168"/>
            <ac:spMk id="10" creationId="{A5B67B4C-07CC-4FC2-B350-46A63A6ACA6D}"/>
          </ac:spMkLst>
        </pc:spChg>
        <pc:spChg chg="mod">
          <ac:chgData name="Myrvag, Oda" userId="a8cbc5d5-a60f-469f-af81-81e559ffaccc" providerId="ADAL" clId="{81613F7F-5A23-4E29-8F93-D381433B8D2A}" dt="2022-05-06T17:00:59.492" v="10218" actId="14100"/>
          <ac:spMkLst>
            <pc:docMk/>
            <pc:sldMk cId="1544909723" sldId="2147309168"/>
            <ac:spMk id="11" creationId="{D4061D49-3770-4E9E-A5D3-877C04449426}"/>
          </ac:spMkLst>
        </pc:spChg>
        <pc:spChg chg="mod">
          <ac:chgData name="Myrvag, Oda" userId="a8cbc5d5-a60f-469f-af81-81e559ffaccc" providerId="ADAL" clId="{81613F7F-5A23-4E29-8F93-D381433B8D2A}" dt="2022-05-06T17:00:59.492" v="10218" actId="14100"/>
          <ac:spMkLst>
            <pc:docMk/>
            <pc:sldMk cId="1544909723" sldId="2147309168"/>
            <ac:spMk id="12" creationId="{F4658979-7B79-4F9D-9605-BB77F332F10A}"/>
          </ac:spMkLst>
        </pc:spChg>
        <pc:spChg chg="del">
          <ac:chgData name="Myrvag, Oda" userId="a8cbc5d5-a60f-469f-af81-81e559ffaccc" providerId="ADAL" clId="{81613F7F-5A23-4E29-8F93-D381433B8D2A}" dt="2022-05-06T16:46:05.187" v="8998" actId="478"/>
          <ac:spMkLst>
            <pc:docMk/>
            <pc:sldMk cId="1544909723" sldId="2147309168"/>
            <ac:spMk id="13" creationId="{6FA4CA2A-1180-4A6C-A15B-7FF67C49B737}"/>
          </ac:spMkLst>
        </pc:spChg>
        <pc:spChg chg="del">
          <ac:chgData name="Myrvag, Oda" userId="a8cbc5d5-a60f-469f-af81-81e559ffaccc" providerId="ADAL" clId="{81613F7F-5A23-4E29-8F93-D381433B8D2A}" dt="2022-05-06T16:46:05.696" v="8999" actId="478"/>
          <ac:spMkLst>
            <pc:docMk/>
            <pc:sldMk cId="1544909723" sldId="2147309168"/>
            <ac:spMk id="14" creationId="{2AF90FC3-6F3F-4BE7-AC89-0E2E1E29E330}"/>
          </ac:spMkLst>
        </pc:spChg>
        <pc:spChg chg="del">
          <ac:chgData name="Myrvag, Oda" userId="a8cbc5d5-a60f-469f-af81-81e559ffaccc" providerId="ADAL" clId="{81613F7F-5A23-4E29-8F93-D381433B8D2A}" dt="2022-05-06T16:46:06.099" v="9000" actId="478"/>
          <ac:spMkLst>
            <pc:docMk/>
            <pc:sldMk cId="1544909723" sldId="2147309168"/>
            <ac:spMk id="15" creationId="{154DDD30-3398-467F-8237-DD38C803E765}"/>
          </ac:spMkLst>
        </pc:spChg>
        <pc:spChg chg="add mod">
          <ac:chgData name="Myrvag, Oda" userId="a8cbc5d5-a60f-469f-af81-81e559ffaccc" providerId="ADAL" clId="{81613F7F-5A23-4E29-8F93-D381433B8D2A}" dt="2022-05-07T06:48:02.818" v="19257" actId="1076"/>
          <ac:spMkLst>
            <pc:docMk/>
            <pc:sldMk cId="1544909723" sldId="2147309168"/>
            <ac:spMk id="16" creationId="{A10072AD-BA55-46B3-841D-8F29728A9567}"/>
          </ac:spMkLst>
        </pc:spChg>
        <pc:spChg chg="del">
          <ac:chgData name="Myrvag, Oda" userId="a8cbc5d5-a60f-469f-af81-81e559ffaccc" providerId="ADAL" clId="{81613F7F-5A23-4E29-8F93-D381433B8D2A}" dt="2022-05-06T16:46:08.212" v="9003" actId="478"/>
          <ac:spMkLst>
            <pc:docMk/>
            <pc:sldMk cId="1544909723" sldId="2147309168"/>
            <ac:spMk id="16" creationId="{B4DA61C8-0B26-4080-839B-BDFD96CF47B0}"/>
          </ac:spMkLst>
        </pc:spChg>
        <pc:spChg chg="add del mod">
          <ac:chgData name="Myrvag, Oda" userId="a8cbc5d5-a60f-469f-af81-81e559ffaccc" providerId="ADAL" clId="{81613F7F-5A23-4E29-8F93-D381433B8D2A}" dt="2022-05-06T16:33:51.058" v="7650"/>
          <ac:spMkLst>
            <pc:docMk/>
            <pc:sldMk cId="1544909723" sldId="2147309168"/>
            <ac:spMk id="17" creationId="{118FC843-D1C5-4D05-813D-0057BD98DAD1}"/>
          </ac:spMkLst>
        </pc:spChg>
        <pc:spChg chg="add del mod modVis">
          <ac:chgData name="Myrvag, Oda" userId="a8cbc5d5-a60f-469f-af81-81e559ffaccc" providerId="ADAL" clId="{81613F7F-5A23-4E29-8F93-D381433B8D2A}" dt="2022-05-06T16:33:51.629" v="7690"/>
          <ac:spMkLst>
            <pc:docMk/>
            <pc:sldMk cId="1544909723" sldId="2147309168"/>
            <ac:spMk id="18" creationId="{8763FDEE-E4DE-47E1-A4F4-D35C183BFF06}"/>
          </ac:spMkLst>
        </pc:spChg>
        <pc:spChg chg="mod">
          <ac:chgData name="Myrvag, Oda" userId="a8cbc5d5-a60f-469f-af81-81e559ffaccc" providerId="ADAL" clId="{81613F7F-5A23-4E29-8F93-D381433B8D2A}" dt="2022-05-06T16:28:15.616" v="6911" actId="14100"/>
          <ac:spMkLst>
            <pc:docMk/>
            <pc:sldMk cId="1544909723" sldId="2147309168"/>
            <ac:spMk id="20" creationId="{7C8AA404-1545-4DC3-8463-E58A155F88BE}"/>
          </ac:spMkLst>
        </pc:spChg>
        <pc:spChg chg="add del mod">
          <ac:chgData name="Myrvag, Oda" userId="a8cbc5d5-a60f-469f-af81-81e559ffaccc" providerId="ADAL" clId="{81613F7F-5A23-4E29-8F93-D381433B8D2A}" dt="2022-05-06T16:23:35.907" v="6423" actId="478"/>
          <ac:spMkLst>
            <pc:docMk/>
            <pc:sldMk cId="1544909723" sldId="2147309168"/>
            <ac:spMk id="21" creationId="{9F4642A1-49C7-418D-8E6D-4B5CD45A3569}"/>
          </ac:spMkLst>
        </pc:spChg>
        <pc:spChg chg="del mod">
          <ac:chgData name="Myrvag, Oda" userId="a8cbc5d5-a60f-469f-af81-81e559ffaccc" providerId="ADAL" clId="{81613F7F-5A23-4E29-8F93-D381433B8D2A}" dt="2022-05-06T16:24:00.020" v="6427"/>
          <ac:spMkLst>
            <pc:docMk/>
            <pc:sldMk cId="1544909723" sldId="2147309168"/>
            <ac:spMk id="22" creationId="{0755B4A8-2215-478F-864E-8BDAD7E454DC}"/>
          </ac:spMkLst>
        </pc:spChg>
        <pc:spChg chg="add del mod">
          <ac:chgData name="Myrvag, Oda" userId="a8cbc5d5-a60f-469f-af81-81e559ffaccc" providerId="ADAL" clId="{81613F7F-5A23-4E29-8F93-D381433B8D2A}" dt="2022-05-06T16:46:07.125" v="9001" actId="478"/>
          <ac:spMkLst>
            <pc:docMk/>
            <pc:sldMk cId="1544909723" sldId="2147309168"/>
            <ac:spMk id="23" creationId="{0F8CB1C8-8260-47A0-A413-506DBD1587B0}"/>
          </ac:spMkLst>
        </pc:spChg>
        <pc:spChg chg="add mod">
          <ac:chgData name="Myrvag, Oda" userId="a8cbc5d5-a60f-469f-af81-81e559ffaccc" providerId="ADAL" clId="{81613F7F-5A23-4E29-8F93-D381433B8D2A}" dt="2022-05-06T17:00:59.492" v="10218" actId="14100"/>
          <ac:spMkLst>
            <pc:docMk/>
            <pc:sldMk cId="1544909723" sldId="2147309168"/>
            <ac:spMk id="24" creationId="{23AEC419-C0DF-4869-BF5D-3CA8111264F9}"/>
          </ac:spMkLst>
        </pc:spChg>
        <pc:spChg chg="add del mod">
          <ac:chgData name="Myrvag, Oda" userId="a8cbc5d5-a60f-469f-af81-81e559ffaccc" providerId="ADAL" clId="{81613F7F-5A23-4E29-8F93-D381433B8D2A}" dt="2022-05-06T16:46:08.684" v="9004" actId="478"/>
          <ac:spMkLst>
            <pc:docMk/>
            <pc:sldMk cId="1544909723" sldId="2147309168"/>
            <ac:spMk id="25" creationId="{068A302C-506F-4EE8-A80E-C63CFCC49373}"/>
          </ac:spMkLst>
        </pc:spChg>
        <pc:spChg chg="add mod">
          <ac:chgData name="Myrvag, Oda" userId="a8cbc5d5-a60f-469f-af81-81e559ffaccc" providerId="ADAL" clId="{81613F7F-5A23-4E29-8F93-D381433B8D2A}" dt="2022-05-06T17:00:59.492" v="10218" actId="14100"/>
          <ac:spMkLst>
            <pc:docMk/>
            <pc:sldMk cId="1544909723" sldId="2147309168"/>
            <ac:spMk id="26" creationId="{141C2160-9B50-412D-B02F-9D7A4A27226C}"/>
          </ac:spMkLst>
        </pc:spChg>
        <pc:spChg chg="add mod">
          <ac:chgData name="Myrvag, Oda" userId="a8cbc5d5-a60f-469f-af81-81e559ffaccc" providerId="ADAL" clId="{81613F7F-5A23-4E29-8F93-D381433B8D2A}" dt="2022-05-06T16:33:55.863" v="7712" actId="948"/>
          <ac:spMkLst>
            <pc:docMk/>
            <pc:sldMk cId="1544909723" sldId="2147309168"/>
            <ac:spMk id="27" creationId="{232B954A-82E7-4DA1-BB26-B1F9E3309B55}"/>
          </ac:spMkLst>
        </pc:spChg>
        <pc:spChg chg="add mod">
          <ac:chgData name="Myrvag, Oda" userId="a8cbc5d5-a60f-469f-af81-81e559ffaccc" providerId="ADAL" clId="{81613F7F-5A23-4E29-8F93-D381433B8D2A}" dt="2022-05-06T17:06:35.818" v="10848" actId="20577"/>
          <ac:spMkLst>
            <pc:docMk/>
            <pc:sldMk cId="1544909723" sldId="2147309168"/>
            <ac:spMk id="28" creationId="{F8053D1F-2705-49FA-B579-99493A0E10A3}"/>
          </ac:spMkLst>
        </pc:spChg>
        <pc:spChg chg="add mod">
          <ac:chgData name="Myrvag, Oda" userId="a8cbc5d5-a60f-469f-af81-81e559ffaccc" providerId="ADAL" clId="{81613F7F-5A23-4E29-8F93-D381433B8D2A}" dt="2022-05-06T17:01:24.097" v="10239" actId="20577"/>
          <ac:spMkLst>
            <pc:docMk/>
            <pc:sldMk cId="1544909723" sldId="2147309168"/>
            <ac:spMk id="29" creationId="{29A77F38-E70E-44D5-84F6-A951595C4F53}"/>
          </ac:spMkLst>
        </pc:spChg>
        <pc:graphicFrameChg chg="mod">
          <ac:chgData name="Myrvag, Oda" userId="a8cbc5d5-a60f-469f-af81-81e559ffaccc" providerId="ADAL" clId="{81613F7F-5A23-4E29-8F93-D381433B8D2A}" dt="2022-05-06T16:33:55.871" v="7714"/>
          <ac:graphicFrameMkLst>
            <pc:docMk/>
            <pc:sldMk cId="1544909723" sldId="2147309168"/>
            <ac:graphicFrameMk id="4" creationId="{0713B360-6832-4579-9F39-37C46A2B0E68}"/>
          </ac:graphicFrameMkLst>
        </pc:graphicFrameChg>
        <pc:picChg chg="add mod">
          <ac:chgData name="Myrvag, Oda" userId="a8cbc5d5-a60f-469f-af81-81e559ffaccc" providerId="ADAL" clId="{81613F7F-5A23-4E29-8F93-D381433B8D2A}" dt="2022-05-09T12:46:12.092" v="23378" actId="1076"/>
          <ac:picMkLst>
            <pc:docMk/>
            <pc:sldMk cId="1544909723" sldId="2147309168"/>
            <ac:picMk id="3" creationId="{A147981F-7232-41BC-9D97-F1F7E3BF5A39}"/>
          </ac:picMkLst>
        </pc:picChg>
        <pc:picChg chg="add del mod modCrop">
          <ac:chgData name="Myrvag, Oda" userId="a8cbc5d5-a60f-469f-af81-81e559ffaccc" providerId="ADAL" clId="{81613F7F-5A23-4E29-8F93-D381433B8D2A}" dt="2022-05-09T12:43:37.875" v="23366" actId="478"/>
          <ac:picMkLst>
            <pc:docMk/>
            <pc:sldMk cId="1544909723" sldId="2147309168"/>
            <ac:picMk id="6" creationId="{A9A75C37-6051-4C1C-9E69-FEEABFB243C2}"/>
          </ac:picMkLst>
        </pc:picChg>
        <pc:picChg chg="del">
          <ac:chgData name="Myrvag, Oda" userId="a8cbc5d5-a60f-469f-af81-81e559ffaccc" providerId="ADAL" clId="{81613F7F-5A23-4E29-8F93-D381433B8D2A}" dt="2022-05-06T16:20:58.773" v="6206" actId="478"/>
          <ac:picMkLst>
            <pc:docMk/>
            <pc:sldMk cId="1544909723" sldId="2147309168"/>
            <ac:picMk id="19" creationId="{2F665A5B-67BD-483F-9E23-A81AD80D67FE}"/>
          </ac:picMkLst>
        </pc:picChg>
      </pc:sldChg>
      <pc:sldChg chg="modSp del mod">
        <pc:chgData name="Myrvag, Oda" userId="a8cbc5d5-a60f-469f-af81-81e559ffaccc" providerId="ADAL" clId="{81613F7F-5A23-4E29-8F93-D381433B8D2A}" dt="2022-05-06T16:11:54.895" v="5865" actId="47"/>
        <pc:sldMkLst>
          <pc:docMk/>
          <pc:sldMk cId="4261976350" sldId="2147309168"/>
        </pc:sldMkLst>
        <pc:spChg chg="mod">
          <ac:chgData name="Myrvag, Oda" userId="a8cbc5d5-a60f-469f-af81-81e559ffaccc" providerId="ADAL" clId="{81613F7F-5A23-4E29-8F93-D381433B8D2A}" dt="2022-05-06T16:11:25.457" v="5822" actId="948"/>
          <ac:spMkLst>
            <pc:docMk/>
            <pc:sldMk cId="4261976350" sldId="2147309168"/>
            <ac:spMk id="2" creationId="{3144CB88-8BBB-46A7-934A-0DB34D0B6E67}"/>
          </ac:spMkLst>
        </pc:spChg>
        <pc:graphicFrameChg chg="mod">
          <ac:chgData name="Myrvag, Oda" userId="a8cbc5d5-a60f-469f-af81-81e559ffaccc" providerId="ADAL" clId="{81613F7F-5A23-4E29-8F93-D381433B8D2A}" dt="2022-05-06T16:11:25.465" v="5824"/>
          <ac:graphicFrameMkLst>
            <pc:docMk/>
            <pc:sldMk cId="4261976350" sldId="2147309168"/>
            <ac:graphicFrameMk id="4" creationId="{0713B360-6832-4579-9F39-37C46A2B0E68}"/>
          </ac:graphicFrameMkLst>
        </pc:graphicFrameChg>
      </pc:sldChg>
      <pc:sldChg chg="addSp delSp modSp new add mod addCm delCm modCm modNotesTx">
        <pc:chgData name="Myrvag, Oda" userId="a8cbc5d5-a60f-469f-af81-81e559ffaccc" providerId="ADAL" clId="{81613F7F-5A23-4E29-8F93-D381433B8D2A}" dt="2022-05-10T07:20:50.746" v="25042"/>
        <pc:sldMkLst>
          <pc:docMk/>
          <pc:sldMk cId="632350662" sldId="2147309169"/>
        </pc:sldMkLst>
        <pc:spChg chg="mod">
          <ac:chgData name="Myrvag, Oda" userId="a8cbc5d5-a60f-469f-af81-81e559ffaccc" providerId="ADAL" clId="{81613F7F-5A23-4E29-8F93-D381433B8D2A}" dt="2022-05-10T07:20:50.706" v="25001" actId="948"/>
          <ac:spMkLst>
            <pc:docMk/>
            <pc:sldMk cId="632350662" sldId="2147309169"/>
            <ac:spMk id="2" creationId="{300D33C8-DE39-4A97-A2C8-1760C52ECADD}"/>
          </ac:spMkLst>
        </pc:spChg>
        <pc:spChg chg="del">
          <ac:chgData name="Myrvag, Oda" userId="a8cbc5d5-a60f-469f-af81-81e559ffaccc" providerId="ADAL" clId="{81613F7F-5A23-4E29-8F93-D381433B8D2A}" dt="2022-05-06T16:32:23.536" v="7125" actId="478"/>
          <ac:spMkLst>
            <pc:docMk/>
            <pc:sldMk cId="632350662" sldId="2147309169"/>
            <ac:spMk id="3" creationId="{404CF076-69E1-41BF-877B-D654B9CF4B45}"/>
          </ac:spMkLst>
        </pc:spChg>
        <pc:spChg chg="add del mod">
          <ac:chgData name="Myrvag, Oda" userId="a8cbc5d5-a60f-469f-af81-81e559ffaccc" providerId="ADAL" clId="{81613F7F-5A23-4E29-8F93-D381433B8D2A}" dt="2022-05-06T20:46:53.938" v="13730" actId="478"/>
          <ac:spMkLst>
            <pc:docMk/>
            <pc:sldMk cId="632350662" sldId="2147309169"/>
            <ac:spMk id="4" creationId="{5A763FAC-5338-4B46-82D3-33A405FD9AAA}"/>
          </ac:spMkLst>
        </pc:spChg>
        <pc:spChg chg="add del mod modVis">
          <ac:chgData name="Myrvag, Oda" userId="a8cbc5d5-a60f-469f-af81-81e559ffaccc" providerId="ADAL" clId="{81613F7F-5A23-4E29-8F93-D381433B8D2A}" dt="2022-05-06T16:33:18.710" v="7340"/>
          <ac:spMkLst>
            <pc:docMk/>
            <pc:sldMk cId="632350662" sldId="2147309169"/>
            <ac:spMk id="5" creationId="{29B2B755-C287-48C7-BC46-C47D57A0A7B2}"/>
          </ac:spMkLst>
        </pc:spChg>
        <pc:spChg chg="add del mod modVis">
          <ac:chgData name="Myrvag, Oda" userId="a8cbc5d5-a60f-469f-af81-81e559ffaccc" providerId="ADAL" clId="{81613F7F-5A23-4E29-8F93-D381433B8D2A}" dt="2022-05-09T12:58:43.361" v="23498"/>
          <ac:spMkLst>
            <pc:docMk/>
            <pc:sldMk cId="632350662" sldId="2147309169"/>
            <ac:spMk id="5" creationId="{B572BA55-5DBE-4290-AD62-EF20E31F1F15}"/>
          </ac:spMkLst>
        </pc:spChg>
        <pc:spChg chg="add del mod modVis">
          <ac:chgData name="Myrvag, Oda" userId="a8cbc5d5-a60f-469f-af81-81e559ffaccc" providerId="ADAL" clId="{81613F7F-5A23-4E29-8F93-D381433B8D2A}" dt="2022-05-10T06:42:03.043" v="23978"/>
          <ac:spMkLst>
            <pc:docMk/>
            <pc:sldMk cId="632350662" sldId="2147309169"/>
            <ac:spMk id="5" creationId="{FAD5618D-9AA0-4F42-ABE4-81ABD64A8404}"/>
          </ac:spMkLst>
        </pc:spChg>
        <pc:spChg chg="add del mod modVis">
          <ac:chgData name="Myrvag, Oda" userId="a8cbc5d5-a60f-469f-af81-81e559ffaccc" providerId="ADAL" clId="{81613F7F-5A23-4E29-8F93-D381433B8D2A}" dt="2022-05-09T12:58:45.914" v="23549"/>
          <ac:spMkLst>
            <pc:docMk/>
            <pc:sldMk cId="632350662" sldId="2147309169"/>
            <ac:spMk id="7" creationId="{34CACA16-25FE-461F-9F72-E4F2A0EDD2A3}"/>
          </ac:spMkLst>
        </pc:spChg>
        <pc:spChg chg="add del mod modVis">
          <ac:chgData name="Myrvag, Oda" userId="a8cbc5d5-a60f-469f-af81-81e559ffaccc" providerId="ADAL" clId="{81613F7F-5A23-4E29-8F93-D381433B8D2A}" dt="2022-05-10T07:20:41.556" v="24786"/>
          <ac:spMkLst>
            <pc:docMk/>
            <pc:sldMk cId="632350662" sldId="2147309169"/>
            <ac:spMk id="7" creationId="{69134A89-989A-4354-8FF4-CFFEA1E41777}"/>
          </ac:spMkLst>
        </pc:spChg>
        <pc:spChg chg="add del mod modVis">
          <ac:chgData name="Myrvag, Oda" userId="a8cbc5d5-a60f-469f-af81-81e559ffaccc" providerId="ADAL" clId="{81613F7F-5A23-4E29-8F93-D381433B8D2A}" dt="2022-05-06T16:33:19.051" v="7397"/>
          <ac:spMkLst>
            <pc:docMk/>
            <pc:sldMk cId="632350662" sldId="2147309169"/>
            <ac:spMk id="7" creationId="{A8774FE2-08BF-4023-A60C-637FE909720E}"/>
          </ac:spMkLst>
        </pc:spChg>
        <pc:spChg chg="add del mod modVis">
          <ac:chgData name="Myrvag, Oda" userId="a8cbc5d5-a60f-469f-af81-81e559ffaccc" providerId="ADAL" clId="{81613F7F-5A23-4E29-8F93-D381433B8D2A}" dt="2022-05-09T12:58:48.377" v="23606"/>
          <ac:spMkLst>
            <pc:docMk/>
            <pc:sldMk cId="632350662" sldId="2147309169"/>
            <ac:spMk id="8" creationId="{27040C9D-E54F-4283-B692-7DE770278C00}"/>
          </ac:spMkLst>
        </pc:spChg>
        <pc:spChg chg="add del mod modVis">
          <ac:chgData name="Myrvag, Oda" userId="a8cbc5d5-a60f-469f-af81-81e559ffaccc" providerId="ADAL" clId="{81613F7F-5A23-4E29-8F93-D381433B8D2A}" dt="2022-05-06T16:33:23.512" v="7465"/>
          <ac:spMkLst>
            <pc:docMk/>
            <pc:sldMk cId="632350662" sldId="2147309169"/>
            <ac:spMk id="8" creationId="{2DC4BF83-6F5C-45C5-A849-525459D70EBB}"/>
          </ac:spMkLst>
        </pc:spChg>
        <pc:spChg chg="add del mod modVis">
          <ac:chgData name="Myrvag, Oda" userId="a8cbc5d5-a60f-469f-af81-81e559ffaccc" providerId="ADAL" clId="{81613F7F-5A23-4E29-8F93-D381433B8D2A}" dt="2022-05-10T07:20:43.402" v="24838"/>
          <ac:spMkLst>
            <pc:docMk/>
            <pc:sldMk cId="632350662" sldId="2147309169"/>
            <ac:spMk id="8" creationId="{C4E91FB8-D1A9-484E-A687-9D75C12C5BBF}"/>
          </ac:spMkLst>
        </pc:spChg>
        <pc:spChg chg="add del mod modVis">
          <ac:chgData name="Myrvag, Oda" userId="a8cbc5d5-a60f-469f-af81-81e559ffaccc" providerId="ADAL" clId="{81613F7F-5A23-4E29-8F93-D381433B8D2A}" dt="2022-05-10T07:20:44.470" v="24888"/>
          <ac:spMkLst>
            <pc:docMk/>
            <pc:sldMk cId="632350662" sldId="2147309169"/>
            <ac:spMk id="9" creationId="{00FABDB1-323F-4E78-BF4B-B4480D7F424D}"/>
          </ac:spMkLst>
        </pc:spChg>
        <pc:spChg chg="add del mod modVis">
          <ac:chgData name="Myrvag, Oda" userId="a8cbc5d5-a60f-469f-af81-81e559ffaccc" providerId="ADAL" clId="{81613F7F-5A23-4E29-8F93-D381433B8D2A}" dt="2022-05-09T12:58:49.635" v="23649"/>
          <ac:spMkLst>
            <pc:docMk/>
            <pc:sldMk cId="632350662" sldId="2147309169"/>
            <ac:spMk id="9" creationId="{1FE315C1-2691-407F-B638-3470578B4C66}"/>
          </ac:spMkLst>
        </pc:spChg>
        <pc:spChg chg="add del mod modVis">
          <ac:chgData name="Myrvag, Oda" userId="a8cbc5d5-a60f-469f-af81-81e559ffaccc" providerId="ADAL" clId="{81613F7F-5A23-4E29-8F93-D381433B8D2A}" dt="2022-05-06T16:33:28.346" v="7512"/>
          <ac:spMkLst>
            <pc:docMk/>
            <pc:sldMk cId="632350662" sldId="2147309169"/>
            <ac:spMk id="9" creationId="{C6FD58E7-975D-4CAF-A6C2-0E78CE3B5C0E}"/>
          </ac:spMkLst>
        </pc:spChg>
        <pc:spChg chg="add del mod modVis">
          <ac:chgData name="Myrvag, Oda" userId="a8cbc5d5-a60f-469f-af81-81e559ffaccc" providerId="ADAL" clId="{81613F7F-5A23-4E29-8F93-D381433B8D2A}" dt="2022-05-10T07:20:48.055" v="24941"/>
          <ac:spMkLst>
            <pc:docMk/>
            <pc:sldMk cId="632350662" sldId="2147309169"/>
            <ac:spMk id="10" creationId="{9A0F17BD-6D89-4B66-A427-81ABF8A437FE}"/>
          </ac:spMkLst>
        </pc:spChg>
        <pc:spChg chg="add del mod modVis">
          <ac:chgData name="Myrvag, Oda" userId="a8cbc5d5-a60f-469f-af81-81e559ffaccc" providerId="ADAL" clId="{81613F7F-5A23-4E29-8F93-D381433B8D2A}" dt="2022-05-09T12:58:51.376" v="23695"/>
          <ac:spMkLst>
            <pc:docMk/>
            <pc:sldMk cId="632350662" sldId="2147309169"/>
            <ac:spMk id="10" creationId="{BDCF63C8-0BA9-4D61-B636-B379843BFA19}"/>
          </ac:spMkLst>
        </pc:spChg>
        <pc:spChg chg="add del mod modVis">
          <ac:chgData name="Myrvag, Oda" userId="a8cbc5d5-a60f-469f-af81-81e559ffaccc" providerId="ADAL" clId="{81613F7F-5A23-4E29-8F93-D381433B8D2A}" dt="2022-05-06T16:33:32.316" v="7555"/>
          <ac:spMkLst>
            <pc:docMk/>
            <pc:sldMk cId="632350662" sldId="2147309169"/>
            <ac:spMk id="10" creationId="{D16AA77D-A828-4F22-80E9-DC691AE5540F}"/>
          </ac:spMkLst>
        </pc:spChg>
        <pc:spChg chg="add del mod modVis">
          <ac:chgData name="Myrvag, Oda" userId="a8cbc5d5-a60f-469f-af81-81e559ffaccc" providerId="ADAL" clId="{81613F7F-5A23-4E29-8F93-D381433B8D2A}" dt="2022-05-06T16:33:34.032" v="7601"/>
          <ac:spMkLst>
            <pc:docMk/>
            <pc:sldMk cId="632350662" sldId="2147309169"/>
            <ac:spMk id="11" creationId="{6144CC4F-E327-4F82-8F42-8EB1C13849D5}"/>
          </ac:spMkLst>
        </pc:spChg>
        <pc:spChg chg="add del mod modVis">
          <ac:chgData name="Myrvag, Oda" userId="a8cbc5d5-a60f-469f-af81-81e559ffaccc" providerId="ADAL" clId="{81613F7F-5A23-4E29-8F93-D381433B8D2A}" dt="2022-05-10T07:20:48.662" v="24984"/>
          <ac:spMkLst>
            <pc:docMk/>
            <pc:sldMk cId="632350662" sldId="2147309169"/>
            <ac:spMk id="11" creationId="{C635EB0F-4A8E-4D8E-9307-7E96E8E8C533}"/>
          </ac:spMkLst>
        </pc:spChg>
        <pc:spChg chg="add del mod modVis">
          <ac:chgData name="Myrvag, Oda" userId="a8cbc5d5-a60f-469f-af81-81e559ffaccc" providerId="ADAL" clId="{81613F7F-5A23-4E29-8F93-D381433B8D2A}" dt="2022-05-10T07:20:50.743" v="25040"/>
          <ac:spMkLst>
            <pc:docMk/>
            <pc:sldMk cId="632350662" sldId="2147309169"/>
            <ac:spMk id="12" creationId="{5A47A875-ED6C-42E6-BA7F-9FFC950C42BA}"/>
          </ac:spMkLst>
        </pc:spChg>
        <pc:spChg chg="add del mod modVis">
          <ac:chgData name="Myrvag, Oda" userId="a8cbc5d5-a60f-469f-af81-81e559ffaccc" providerId="ADAL" clId="{81613F7F-5A23-4E29-8F93-D381433B8D2A}" dt="2022-05-06T16:33:37.094" v="7644"/>
          <ac:spMkLst>
            <pc:docMk/>
            <pc:sldMk cId="632350662" sldId="2147309169"/>
            <ac:spMk id="12" creationId="{CA3D9BEE-2450-4CA1-B677-095F2A1772F6}"/>
          </ac:spMkLst>
        </pc:spChg>
        <pc:spChg chg="add mod">
          <ac:chgData name="Myrvag, Oda" userId="a8cbc5d5-a60f-469f-af81-81e559ffaccc" providerId="ADAL" clId="{81613F7F-5A23-4E29-8F93-D381433B8D2A}" dt="2022-05-10T07:14:58.902" v="24462" actId="14100"/>
          <ac:spMkLst>
            <pc:docMk/>
            <pc:sldMk cId="632350662" sldId="2147309169"/>
            <ac:spMk id="13" creationId="{C0378302-82AF-4D15-857A-61BAE396462F}"/>
          </ac:spMkLst>
        </pc:spChg>
        <pc:spChg chg="add mod">
          <ac:chgData name="Myrvag, Oda" userId="a8cbc5d5-a60f-469f-af81-81e559ffaccc" providerId="ADAL" clId="{81613F7F-5A23-4E29-8F93-D381433B8D2A}" dt="2022-05-06T20:53:58.700" v="13906" actId="1035"/>
          <ac:spMkLst>
            <pc:docMk/>
            <pc:sldMk cId="632350662" sldId="2147309169"/>
            <ac:spMk id="14" creationId="{C51E5B2D-E235-4B82-9A2F-960CD46C7B76}"/>
          </ac:spMkLst>
        </pc:spChg>
        <pc:spChg chg="add mod">
          <ac:chgData name="Myrvag, Oda" userId="a8cbc5d5-a60f-469f-af81-81e559ffaccc" providerId="ADAL" clId="{81613F7F-5A23-4E29-8F93-D381433B8D2A}" dt="2022-05-10T07:15:00.840" v="24463" actId="14100"/>
          <ac:spMkLst>
            <pc:docMk/>
            <pc:sldMk cId="632350662" sldId="2147309169"/>
            <ac:spMk id="15" creationId="{3F0453DB-1F28-4C5D-912B-1F5A133768D7}"/>
          </ac:spMkLst>
        </pc:spChg>
        <pc:spChg chg="add mod">
          <ac:chgData name="Myrvag, Oda" userId="a8cbc5d5-a60f-469f-af81-81e559ffaccc" providerId="ADAL" clId="{81613F7F-5A23-4E29-8F93-D381433B8D2A}" dt="2022-05-10T07:16:06.689" v="24507" actId="1076"/>
          <ac:spMkLst>
            <pc:docMk/>
            <pc:sldMk cId="632350662" sldId="2147309169"/>
            <ac:spMk id="16" creationId="{7B4DA53D-4585-456A-BBBB-6ED308BF122E}"/>
          </ac:spMkLst>
        </pc:spChg>
        <pc:spChg chg="add mod">
          <ac:chgData name="Myrvag, Oda" userId="a8cbc5d5-a60f-469f-af81-81e559ffaccc" providerId="ADAL" clId="{81613F7F-5A23-4E29-8F93-D381433B8D2A}" dt="2022-05-10T07:18:14.284" v="24722" actId="20577"/>
          <ac:spMkLst>
            <pc:docMk/>
            <pc:sldMk cId="632350662" sldId="2147309169"/>
            <ac:spMk id="17" creationId="{0161E115-B38E-4B08-BBF9-8C47F7E089D7}"/>
          </ac:spMkLst>
        </pc:spChg>
        <pc:spChg chg="add del mod">
          <ac:chgData name="Myrvag, Oda" userId="a8cbc5d5-a60f-469f-af81-81e559ffaccc" providerId="ADAL" clId="{81613F7F-5A23-4E29-8F93-D381433B8D2A}" dt="2022-05-06T16:39:19.968" v="8230" actId="478"/>
          <ac:spMkLst>
            <pc:docMk/>
            <pc:sldMk cId="632350662" sldId="2147309169"/>
            <ac:spMk id="18" creationId="{5D7C91E2-045C-41EA-9727-1F7E6E9D1828}"/>
          </ac:spMkLst>
        </pc:spChg>
        <pc:spChg chg="add del mod">
          <ac:chgData name="Myrvag, Oda" userId="a8cbc5d5-a60f-469f-af81-81e559ffaccc" providerId="ADAL" clId="{81613F7F-5A23-4E29-8F93-D381433B8D2A}" dt="2022-05-06T20:46:48.629" v="13728" actId="478"/>
          <ac:spMkLst>
            <pc:docMk/>
            <pc:sldMk cId="632350662" sldId="2147309169"/>
            <ac:spMk id="19" creationId="{12F07CA7-BE3B-47F0-B8D3-B7297BAF606D}"/>
          </ac:spMkLst>
        </pc:spChg>
        <pc:spChg chg="add del mod">
          <ac:chgData name="Myrvag, Oda" userId="a8cbc5d5-a60f-469f-af81-81e559ffaccc" providerId="ADAL" clId="{81613F7F-5A23-4E29-8F93-D381433B8D2A}" dt="2022-05-06T20:46:50.407" v="13729" actId="478"/>
          <ac:spMkLst>
            <pc:docMk/>
            <pc:sldMk cId="632350662" sldId="2147309169"/>
            <ac:spMk id="20" creationId="{D64030B5-8C19-47AA-A270-CEAC5DA61A5A}"/>
          </ac:spMkLst>
        </pc:spChg>
        <pc:spChg chg="add del mod">
          <ac:chgData name="Myrvag, Oda" userId="a8cbc5d5-a60f-469f-af81-81e559ffaccc" providerId="ADAL" clId="{81613F7F-5A23-4E29-8F93-D381433B8D2A}" dt="2022-05-06T20:43:10.836" v="13316" actId="478"/>
          <ac:spMkLst>
            <pc:docMk/>
            <pc:sldMk cId="632350662" sldId="2147309169"/>
            <ac:spMk id="21" creationId="{E707E804-5566-426E-9915-AFEB4A250723}"/>
          </ac:spMkLst>
        </pc:spChg>
        <pc:spChg chg="add mod">
          <ac:chgData name="Myrvag, Oda" userId="a8cbc5d5-a60f-469f-af81-81e559ffaccc" providerId="ADAL" clId="{81613F7F-5A23-4E29-8F93-D381433B8D2A}" dt="2022-05-07T09:13:07.329" v="23116" actId="164"/>
          <ac:spMkLst>
            <pc:docMk/>
            <pc:sldMk cId="632350662" sldId="2147309169"/>
            <ac:spMk id="22" creationId="{B7CCA53C-39A3-4634-A493-D96A2A249EC0}"/>
          </ac:spMkLst>
        </pc:spChg>
        <pc:spChg chg="add mod">
          <ac:chgData name="Myrvag, Oda" userId="a8cbc5d5-a60f-469f-af81-81e559ffaccc" providerId="ADAL" clId="{81613F7F-5A23-4E29-8F93-D381433B8D2A}" dt="2022-05-07T09:13:07.329" v="23116" actId="164"/>
          <ac:spMkLst>
            <pc:docMk/>
            <pc:sldMk cId="632350662" sldId="2147309169"/>
            <ac:spMk id="23" creationId="{2482E75F-F6C5-4B36-B4CC-3E372D698BF9}"/>
          </ac:spMkLst>
        </pc:spChg>
        <pc:spChg chg="del mod">
          <ac:chgData name="Myrvag, Oda" userId="a8cbc5d5-a60f-469f-af81-81e559ffaccc" providerId="ADAL" clId="{81613F7F-5A23-4E29-8F93-D381433B8D2A}" dt="2022-05-10T07:16:52.993" v="24522" actId="478"/>
          <ac:spMkLst>
            <pc:docMk/>
            <pc:sldMk cId="632350662" sldId="2147309169"/>
            <ac:spMk id="25" creationId="{1090957B-5098-4076-B03F-345368A756C7}"/>
          </ac:spMkLst>
        </pc:spChg>
        <pc:spChg chg="del mod">
          <ac:chgData name="Myrvag, Oda" userId="a8cbc5d5-a60f-469f-af81-81e559ffaccc" providerId="ADAL" clId="{81613F7F-5A23-4E29-8F93-D381433B8D2A}" dt="2022-05-10T07:16:51.012" v="24521" actId="478"/>
          <ac:spMkLst>
            <pc:docMk/>
            <pc:sldMk cId="632350662" sldId="2147309169"/>
            <ac:spMk id="26" creationId="{AB4C0A83-90C0-43E2-AD44-39ECE72FB710}"/>
          </ac:spMkLst>
        </pc:spChg>
        <pc:spChg chg="del mod">
          <ac:chgData name="Myrvag, Oda" userId="a8cbc5d5-a60f-469f-af81-81e559ffaccc" providerId="ADAL" clId="{81613F7F-5A23-4E29-8F93-D381433B8D2A}" dt="2022-05-10T07:16:54.111" v="24523" actId="478"/>
          <ac:spMkLst>
            <pc:docMk/>
            <pc:sldMk cId="632350662" sldId="2147309169"/>
            <ac:spMk id="28" creationId="{0DFC1A12-F082-41F7-BF18-65BFF6A7798F}"/>
          </ac:spMkLst>
        </pc:spChg>
        <pc:spChg chg="del mod">
          <ac:chgData name="Myrvag, Oda" userId="a8cbc5d5-a60f-469f-af81-81e559ffaccc" providerId="ADAL" clId="{81613F7F-5A23-4E29-8F93-D381433B8D2A}" dt="2022-05-10T07:17:00.712" v="24527" actId="478"/>
          <ac:spMkLst>
            <pc:docMk/>
            <pc:sldMk cId="632350662" sldId="2147309169"/>
            <ac:spMk id="29" creationId="{1E1DD65B-EB5B-48B9-B4A1-80EFB9D0CADB}"/>
          </ac:spMkLst>
        </pc:spChg>
        <pc:spChg chg="del mod">
          <ac:chgData name="Myrvag, Oda" userId="a8cbc5d5-a60f-469f-af81-81e559ffaccc" providerId="ADAL" clId="{81613F7F-5A23-4E29-8F93-D381433B8D2A}" dt="2022-05-10T07:16:57.740" v="24526" actId="478"/>
          <ac:spMkLst>
            <pc:docMk/>
            <pc:sldMk cId="632350662" sldId="2147309169"/>
            <ac:spMk id="30" creationId="{6B14CAB3-2A86-4DF1-80D2-72CFA731E71B}"/>
          </ac:spMkLst>
        </pc:spChg>
        <pc:spChg chg="del mod">
          <ac:chgData name="Myrvag, Oda" userId="a8cbc5d5-a60f-469f-af81-81e559ffaccc" providerId="ADAL" clId="{81613F7F-5A23-4E29-8F93-D381433B8D2A}" dt="2022-05-10T07:17:09.476" v="24528" actId="478"/>
          <ac:spMkLst>
            <pc:docMk/>
            <pc:sldMk cId="632350662" sldId="2147309169"/>
            <ac:spMk id="31" creationId="{D616EF18-B76E-4F64-A9C3-9539B10E223A}"/>
          </ac:spMkLst>
        </pc:spChg>
        <pc:spChg chg="del mod">
          <ac:chgData name="Myrvag, Oda" userId="a8cbc5d5-a60f-469f-af81-81e559ffaccc" providerId="ADAL" clId="{81613F7F-5A23-4E29-8F93-D381433B8D2A}" dt="2022-05-10T07:16:49.514" v="24520" actId="478"/>
          <ac:spMkLst>
            <pc:docMk/>
            <pc:sldMk cId="632350662" sldId="2147309169"/>
            <ac:spMk id="32" creationId="{B5506D35-8AF5-45B5-ADC0-BAC5F7AD9F9F}"/>
          </ac:spMkLst>
        </pc:spChg>
        <pc:spChg chg="mod">
          <ac:chgData name="Myrvag, Oda" userId="a8cbc5d5-a60f-469f-af81-81e559ffaccc" providerId="ADAL" clId="{81613F7F-5A23-4E29-8F93-D381433B8D2A}" dt="2022-05-06T20:53:25.339" v="13886" actId="207"/>
          <ac:spMkLst>
            <pc:docMk/>
            <pc:sldMk cId="632350662" sldId="2147309169"/>
            <ac:spMk id="34" creationId="{F055AC3E-B6E0-4E1B-B178-F4BF04BAAEBD}"/>
          </ac:spMkLst>
        </pc:spChg>
        <pc:spChg chg="mod">
          <ac:chgData name="Myrvag, Oda" userId="a8cbc5d5-a60f-469f-af81-81e559ffaccc" providerId="ADAL" clId="{81613F7F-5A23-4E29-8F93-D381433B8D2A}" dt="2022-05-06T20:53:25.339" v="13886" actId="207"/>
          <ac:spMkLst>
            <pc:docMk/>
            <pc:sldMk cId="632350662" sldId="2147309169"/>
            <ac:spMk id="35" creationId="{491E7B6B-937C-4947-8DF2-71A71DB0B0D9}"/>
          </ac:spMkLst>
        </pc:spChg>
        <pc:spChg chg="add del mod">
          <ac:chgData name="Myrvag, Oda" userId="a8cbc5d5-a60f-469f-af81-81e559ffaccc" providerId="ADAL" clId="{81613F7F-5A23-4E29-8F93-D381433B8D2A}" dt="2022-05-10T07:19:57.117" v="24735" actId="478"/>
          <ac:spMkLst>
            <pc:docMk/>
            <pc:sldMk cId="632350662" sldId="2147309169"/>
            <ac:spMk id="36" creationId="{F1436065-E2AD-4206-8B10-6E1BC5811BCD}"/>
          </ac:spMkLst>
        </pc:spChg>
        <pc:spChg chg="mod">
          <ac:chgData name="Myrvag, Oda" userId="a8cbc5d5-a60f-469f-af81-81e559ffaccc" providerId="ADAL" clId="{81613F7F-5A23-4E29-8F93-D381433B8D2A}" dt="2022-05-10T07:15:42.160" v="24502" actId="1076"/>
          <ac:spMkLst>
            <pc:docMk/>
            <pc:sldMk cId="632350662" sldId="2147309169"/>
            <ac:spMk id="38" creationId="{BCF5830E-4541-48FC-A7A3-8BF43CA758E4}"/>
          </ac:spMkLst>
        </pc:spChg>
        <pc:spChg chg="mod">
          <ac:chgData name="Myrvag, Oda" userId="a8cbc5d5-a60f-469f-af81-81e559ffaccc" providerId="ADAL" clId="{81613F7F-5A23-4E29-8F93-D381433B8D2A}" dt="2022-05-10T07:15:36.595" v="24501" actId="1076"/>
          <ac:spMkLst>
            <pc:docMk/>
            <pc:sldMk cId="632350662" sldId="2147309169"/>
            <ac:spMk id="39" creationId="{B928A0BA-6A11-4F21-92D8-534A38C1F225}"/>
          </ac:spMkLst>
        </pc:spChg>
        <pc:spChg chg="del mod">
          <ac:chgData name="Myrvag, Oda" userId="a8cbc5d5-a60f-469f-af81-81e559ffaccc" providerId="ADAL" clId="{81613F7F-5A23-4E29-8F93-D381433B8D2A}" dt="2022-05-10T07:16:01.269" v="24506" actId="478"/>
          <ac:spMkLst>
            <pc:docMk/>
            <pc:sldMk cId="632350662" sldId="2147309169"/>
            <ac:spMk id="41" creationId="{D052119B-EE79-47E7-A2B3-DA0B24E7395B}"/>
          </ac:spMkLst>
        </pc:spChg>
        <pc:spChg chg="del mod">
          <ac:chgData name="Myrvag, Oda" userId="a8cbc5d5-a60f-469f-af81-81e559ffaccc" providerId="ADAL" clId="{81613F7F-5A23-4E29-8F93-D381433B8D2A}" dt="2022-05-10T07:15:54.284" v="24505" actId="478"/>
          <ac:spMkLst>
            <pc:docMk/>
            <pc:sldMk cId="632350662" sldId="2147309169"/>
            <ac:spMk id="42" creationId="{9CA72D26-C588-4E42-9166-F88E81E1A42A}"/>
          </ac:spMkLst>
        </pc:spChg>
        <pc:spChg chg="mod">
          <ac:chgData name="Myrvag, Oda" userId="a8cbc5d5-a60f-469f-af81-81e559ffaccc" providerId="ADAL" clId="{81613F7F-5A23-4E29-8F93-D381433B8D2A}" dt="2022-05-10T07:19:31.566" v="24729" actId="207"/>
          <ac:spMkLst>
            <pc:docMk/>
            <pc:sldMk cId="632350662" sldId="2147309169"/>
            <ac:spMk id="44" creationId="{228FC670-EA32-4598-8D4D-5FFD61C451C6}"/>
          </ac:spMkLst>
        </pc:spChg>
        <pc:spChg chg="mod">
          <ac:chgData name="Myrvag, Oda" userId="a8cbc5d5-a60f-469f-af81-81e559ffaccc" providerId="ADAL" clId="{81613F7F-5A23-4E29-8F93-D381433B8D2A}" dt="2022-05-10T07:19:31.566" v="24729" actId="207"/>
          <ac:spMkLst>
            <pc:docMk/>
            <pc:sldMk cId="632350662" sldId="2147309169"/>
            <ac:spMk id="45" creationId="{4550F0A2-2448-4674-807B-ABAAD5A2F3B4}"/>
          </ac:spMkLst>
        </pc:spChg>
        <pc:spChg chg="mod">
          <ac:chgData name="Myrvag, Oda" userId="a8cbc5d5-a60f-469f-af81-81e559ffaccc" providerId="ADAL" clId="{81613F7F-5A23-4E29-8F93-D381433B8D2A}" dt="2022-05-10T07:19:46.605" v="24734" actId="207"/>
          <ac:spMkLst>
            <pc:docMk/>
            <pc:sldMk cId="632350662" sldId="2147309169"/>
            <ac:spMk id="47" creationId="{C143BCA3-9E51-4490-84F5-910B314987BC}"/>
          </ac:spMkLst>
        </pc:spChg>
        <pc:spChg chg="mod">
          <ac:chgData name="Myrvag, Oda" userId="a8cbc5d5-a60f-469f-af81-81e559ffaccc" providerId="ADAL" clId="{81613F7F-5A23-4E29-8F93-D381433B8D2A}" dt="2022-05-10T07:19:46.605" v="24734" actId="207"/>
          <ac:spMkLst>
            <pc:docMk/>
            <pc:sldMk cId="632350662" sldId="2147309169"/>
            <ac:spMk id="48" creationId="{259896D0-1D4A-4B70-A415-8584B504DBF5}"/>
          </ac:spMkLst>
        </pc:spChg>
        <pc:spChg chg="mod">
          <ac:chgData name="Myrvag, Oda" userId="a8cbc5d5-a60f-469f-af81-81e559ffaccc" providerId="ADAL" clId="{81613F7F-5A23-4E29-8F93-D381433B8D2A}" dt="2022-05-10T07:19:46.605" v="24734" actId="207"/>
          <ac:spMkLst>
            <pc:docMk/>
            <pc:sldMk cId="632350662" sldId="2147309169"/>
            <ac:spMk id="49" creationId="{EC406137-5404-459B-9D30-17C1C508F5F8}"/>
          </ac:spMkLst>
        </pc:spChg>
        <pc:spChg chg="mod">
          <ac:chgData name="Myrvag, Oda" userId="a8cbc5d5-a60f-469f-af81-81e559ffaccc" providerId="ADAL" clId="{81613F7F-5A23-4E29-8F93-D381433B8D2A}" dt="2022-05-10T07:19:46.605" v="24734" actId="207"/>
          <ac:spMkLst>
            <pc:docMk/>
            <pc:sldMk cId="632350662" sldId="2147309169"/>
            <ac:spMk id="50" creationId="{60890A87-219D-4ECD-9B1E-E82712D3F89A}"/>
          </ac:spMkLst>
        </pc:spChg>
        <pc:spChg chg="mod">
          <ac:chgData name="Myrvag, Oda" userId="a8cbc5d5-a60f-469f-af81-81e559ffaccc" providerId="ADAL" clId="{81613F7F-5A23-4E29-8F93-D381433B8D2A}" dt="2022-05-10T07:19:46.605" v="24734" actId="207"/>
          <ac:spMkLst>
            <pc:docMk/>
            <pc:sldMk cId="632350662" sldId="2147309169"/>
            <ac:spMk id="51" creationId="{A46AF182-E9E8-4DEC-9970-3A9FA4C7C99D}"/>
          </ac:spMkLst>
        </pc:spChg>
        <pc:spChg chg="mod">
          <ac:chgData name="Myrvag, Oda" userId="a8cbc5d5-a60f-469f-af81-81e559ffaccc" providerId="ADAL" clId="{81613F7F-5A23-4E29-8F93-D381433B8D2A}" dt="2022-05-10T07:20:24.258" v="24740" actId="207"/>
          <ac:spMkLst>
            <pc:docMk/>
            <pc:sldMk cId="632350662" sldId="2147309169"/>
            <ac:spMk id="53" creationId="{7BF265AA-4222-4868-9FD1-36817A9E7A4B}"/>
          </ac:spMkLst>
        </pc:spChg>
        <pc:spChg chg="mod">
          <ac:chgData name="Myrvag, Oda" userId="a8cbc5d5-a60f-469f-af81-81e559ffaccc" providerId="ADAL" clId="{81613F7F-5A23-4E29-8F93-D381433B8D2A}" dt="2022-05-10T07:20:24.258" v="24740" actId="207"/>
          <ac:spMkLst>
            <pc:docMk/>
            <pc:sldMk cId="632350662" sldId="2147309169"/>
            <ac:spMk id="54" creationId="{4F224427-D81D-43B6-A119-983816D4CF35}"/>
          </ac:spMkLst>
        </pc:spChg>
        <pc:grpChg chg="add mod">
          <ac:chgData name="Myrvag, Oda" userId="a8cbc5d5-a60f-469f-af81-81e559ffaccc" providerId="ADAL" clId="{81613F7F-5A23-4E29-8F93-D381433B8D2A}" dt="2022-05-10T07:15:31.361" v="24500" actId="1076"/>
          <ac:grpSpMkLst>
            <pc:docMk/>
            <pc:sldMk cId="632350662" sldId="2147309169"/>
            <ac:grpSpMk id="3" creationId="{066ABB68-7DD4-481C-B049-9637F5E84911}"/>
          </ac:grpSpMkLst>
        </pc:grpChg>
        <pc:grpChg chg="add del mod">
          <ac:chgData name="Myrvag, Oda" userId="a8cbc5d5-a60f-469f-af81-81e559ffaccc" providerId="ADAL" clId="{81613F7F-5A23-4E29-8F93-D381433B8D2A}" dt="2022-05-10T07:19:23.120" v="24727" actId="1076"/>
          <ac:grpSpMkLst>
            <pc:docMk/>
            <pc:sldMk cId="632350662" sldId="2147309169"/>
            <ac:grpSpMk id="4" creationId="{E2ED4B62-7A91-4877-9A3C-A48F31AE16DE}"/>
          </ac:grpSpMkLst>
        </pc:grpChg>
        <pc:grpChg chg="add del mod">
          <ac:chgData name="Myrvag, Oda" userId="a8cbc5d5-a60f-469f-af81-81e559ffaccc" providerId="ADAL" clId="{81613F7F-5A23-4E29-8F93-D381433B8D2A}" dt="2022-05-10T07:16:51.012" v="24521" actId="478"/>
          <ac:grpSpMkLst>
            <pc:docMk/>
            <pc:sldMk cId="632350662" sldId="2147309169"/>
            <ac:grpSpMk id="24" creationId="{D6794388-AD6F-43C3-8E47-F37032E03EA5}"/>
          </ac:grpSpMkLst>
        </pc:grpChg>
        <pc:grpChg chg="add del mod">
          <ac:chgData name="Myrvag, Oda" userId="a8cbc5d5-a60f-469f-af81-81e559ffaccc" providerId="ADAL" clId="{81613F7F-5A23-4E29-8F93-D381433B8D2A}" dt="2022-05-10T07:17:00.712" v="24527" actId="478"/>
          <ac:grpSpMkLst>
            <pc:docMk/>
            <pc:sldMk cId="632350662" sldId="2147309169"/>
            <ac:grpSpMk id="27" creationId="{C1A2780F-BA0F-4F57-B3D0-95E83F1FCCBE}"/>
          </ac:grpSpMkLst>
        </pc:grpChg>
        <pc:grpChg chg="add mod">
          <ac:chgData name="Myrvag, Oda" userId="a8cbc5d5-a60f-469f-af81-81e559ffaccc" providerId="ADAL" clId="{81613F7F-5A23-4E29-8F93-D381433B8D2A}" dt="2022-05-10T07:16:10.675" v="24518" actId="1036"/>
          <ac:grpSpMkLst>
            <pc:docMk/>
            <pc:sldMk cId="632350662" sldId="2147309169"/>
            <ac:grpSpMk id="33" creationId="{43E58FCA-7F5E-48D8-A672-962A0C3DC98F}"/>
          </ac:grpSpMkLst>
        </pc:grpChg>
        <pc:grpChg chg="add mod">
          <ac:chgData name="Myrvag, Oda" userId="a8cbc5d5-a60f-469f-af81-81e559ffaccc" providerId="ADAL" clId="{81613F7F-5A23-4E29-8F93-D381433B8D2A}" dt="2022-05-10T07:15:28.783" v="24498"/>
          <ac:grpSpMkLst>
            <pc:docMk/>
            <pc:sldMk cId="632350662" sldId="2147309169"/>
            <ac:grpSpMk id="37" creationId="{1B794EC6-A40C-4686-B0B4-1D1B906A28A8}"/>
          </ac:grpSpMkLst>
        </pc:grpChg>
        <pc:grpChg chg="del mod">
          <ac:chgData name="Myrvag, Oda" userId="a8cbc5d5-a60f-469f-af81-81e559ffaccc" providerId="ADAL" clId="{81613F7F-5A23-4E29-8F93-D381433B8D2A}" dt="2022-05-10T07:15:54.284" v="24505" actId="478"/>
          <ac:grpSpMkLst>
            <pc:docMk/>
            <pc:sldMk cId="632350662" sldId="2147309169"/>
            <ac:grpSpMk id="40" creationId="{2BDF77A0-927E-4B2B-AE2E-F4E49257E331}"/>
          </ac:grpSpMkLst>
        </pc:grpChg>
        <pc:grpChg chg="add mod">
          <ac:chgData name="Myrvag, Oda" userId="a8cbc5d5-a60f-469f-af81-81e559ffaccc" providerId="ADAL" clId="{81613F7F-5A23-4E29-8F93-D381433B8D2A}" dt="2022-05-10T07:19:31.566" v="24729" actId="207"/>
          <ac:grpSpMkLst>
            <pc:docMk/>
            <pc:sldMk cId="632350662" sldId="2147309169"/>
            <ac:grpSpMk id="43" creationId="{4EF59CF1-9959-4CFB-8F75-266175FDE469}"/>
          </ac:grpSpMkLst>
        </pc:grpChg>
        <pc:grpChg chg="add mod">
          <ac:chgData name="Myrvag, Oda" userId="a8cbc5d5-a60f-469f-af81-81e559ffaccc" providerId="ADAL" clId="{81613F7F-5A23-4E29-8F93-D381433B8D2A}" dt="2022-05-10T07:19:46.605" v="24734" actId="207"/>
          <ac:grpSpMkLst>
            <pc:docMk/>
            <pc:sldMk cId="632350662" sldId="2147309169"/>
            <ac:grpSpMk id="46" creationId="{EF4A5598-83D1-4216-986B-2ECF7EC23D12}"/>
          </ac:grpSpMkLst>
        </pc:grpChg>
        <pc:grpChg chg="add mod">
          <ac:chgData name="Myrvag, Oda" userId="a8cbc5d5-a60f-469f-af81-81e559ffaccc" providerId="ADAL" clId="{81613F7F-5A23-4E29-8F93-D381433B8D2A}" dt="2022-05-10T07:20:24.258" v="24740" actId="207"/>
          <ac:grpSpMkLst>
            <pc:docMk/>
            <pc:sldMk cId="632350662" sldId="2147309169"/>
            <ac:grpSpMk id="52" creationId="{6A26CFC5-079D-499B-A8D3-2A398207277C}"/>
          </ac:grpSpMkLst>
        </pc:grpChg>
        <pc:graphicFrameChg chg="add mod ord modVis">
          <ac:chgData name="Myrvag, Oda" userId="a8cbc5d5-a60f-469f-af81-81e559ffaccc" providerId="ADAL" clId="{81613F7F-5A23-4E29-8F93-D381433B8D2A}" dt="2022-05-10T07:20:50.746" v="25042"/>
          <ac:graphicFrameMkLst>
            <pc:docMk/>
            <pc:sldMk cId="632350662" sldId="2147309169"/>
            <ac:graphicFrameMk id="6" creationId="{423BCB5D-CC4A-49B8-933D-2660CBBBFBA6}"/>
          </ac:graphicFrameMkLst>
        </pc:graphicFrameChg>
      </pc:sldChg>
      <pc:sldChg chg="addSp delSp modSp add del mod">
        <pc:chgData name="Myrvag, Oda" userId="a8cbc5d5-a60f-469f-af81-81e559ffaccc" providerId="ADAL" clId="{81613F7F-5A23-4E29-8F93-D381433B8D2A}" dt="2022-05-06T16:20:52.113" v="6204" actId="47"/>
        <pc:sldMkLst>
          <pc:docMk/>
          <pc:sldMk cId="3289710103" sldId="2147309169"/>
        </pc:sldMkLst>
        <pc:spChg chg="mod">
          <ac:chgData name="Myrvag, Oda" userId="a8cbc5d5-a60f-469f-af81-81e559ffaccc" providerId="ADAL" clId="{81613F7F-5A23-4E29-8F93-D381433B8D2A}" dt="2022-05-06T16:12:14.414" v="5882" actId="948"/>
          <ac:spMkLst>
            <pc:docMk/>
            <pc:sldMk cId="3289710103" sldId="2147309169"/>
            <ac:spMk id="2" creationId="{3144CB88-8BBB-46A7-934A-0DB34D0B6E67}"/>
          </ac:spMkLst>
        </pc:spChg>
        <pc:spChg chg="mod">
          <ac:chgData name="Myrvag, Oda" userId="a8cbc5d5-a60f-469f-af81-81e559ffaccc" providerId="ADAL" clId="{81613F7F-5A23-4E29-8F93-D381433B8D2A}" dt="2022-05-06T16:13:25.962" v="5923" actId="113"/>
          <ac:spMkLst>
            <pc:docMk/>
            <pc:sldMk cId="3289710103" sldId="2147309169"/>
            <ac:spMk id="5" creationId="{6D1DD5A1-4DE5-429C-A09D-6777DDAC2252}"/>
          </ac:spMkLst>
        </pc:spChg>
        <pc:spChg chg="mod">
          <ac:chgData name="Myrvag, Oda" userId="a8cbc5d5-a60f-469f-af81-81e559ffaccc" providerId="ADAL" clId="{81613F7F-5A23-4E29-8F93-D381433B8D2A}" dt="2022-05-06T16:11:53.435" v="5864"/>
          <ac:spMkLst>
            <pc:docMk/>
            <pc:sldMk cId="3289710103" sldId="2147309169"/>
            <ac:spMk id="7" creationId="{F8527C33-0580-43A1-869B-461B68DC2AAA}"/>
          </ac:spMkLst>
        </pc:spChg>
        <pc:spChg chg="mod">
          <ac:chgData name="Myrvag, Oda" userId="a8cbc5d5-a60f-469f-af81-81e559ffaccc" providerId="ADAL" clId="{81613F7F-5A23-4E29-8F93-D381433B8D2A}" dt="2022-05-06T16:11:53.435" v="5864"/>
          <ac:spMkLst>
            <pc:docMk/>
            <pc:sldMk cId="3289710103" sldId="2147309169"/>
            <ac:spMk id="8" creationId="{81AF0185-6617-442A-9C9B-48221C870153}"/>
          </ac:spMkLst>
        </pc:spChg>
        <pc:spChg chg="mod">
          <ac:chgData name="Myrvag, Oda" userId="a8cbc5d5-a60f-469f-af81-81e559ffaccc" providerId="ADAL" clId="{81613F7F-5A23-4E29-8F93-D381433B8D2A}" dt="2022-05-06T16:11:53.435" v="5864"/>
          <ac:spMkLst>
            <pc:docMk/>
            <pc:sldMk cId="3289710103" sldId="2147309169"/>
            <ac:spMk id="10" creationId="{A5B67B4C-07CC-4FC2-B350-46A63A6ACA6D}"/>
          </ac:spMkLst>
        </pc:spChg>
        <pc:spChg chg="mod">
          <ac:chgData name="Myrvag, Oda" userId="a8cbc5d5-a60f-469f-af81-81e559ffaccc" providerId="ADAL" clId="{81613F7F-5A23-4E29-8F93-D381433B8D2A}" dt="2022-05-06T16:11:53.435" v="5864"/>
          <ac:spMkLst>
            <pc:docMk/>
            <pc:sldMk cId="3289710103" sldId="2147309169"/>
            <ac:spMk id="11" creationId="{D4061D49-3770-4E9E-A5D3-877C04449426}"/>
          </ac:spMkLst>
        </pc:spChg>
        <pc:spChg chg="mod">
          <ac:chgData name="Myrvag, Oda" userId="a8cbc5d5-a60f-469f-af81-81e559ffaccc" providerId="ADAL" clId="{81613F7F-5A23-4E29-8F93-D381433B8D2A}" dt="2022-05-06T16:11:53.435" v="5864"/>
          <ac:spMkLst>
            <pc:docMk/>
            <pc:sldMk cId="3289710103" sldId="2147309169"/>
            <ac:spMk id="12" creationId="{F4658979-7B79-4F9D-9605-BB77F332F10A}"/>
          </ac:spMkLst>
        </pc:spChg>
        <pc:spChg chg="mod">
          <ac:chgData name="Myrvag, Oda" userId="a8cbc5d5-a60f-469f-af81-81e559ffaccc" providerId="ADAL" clId="{81613F7F-5A23-4E29-8F93-D381433B8D2A}" dt="2022-05-06T16:11:53.435" v="5864"/>
          <ac:spMkLst>
            <pc:docMk/>
            <pc:sldMk cId="3289710103" sldId="2147309169"/>
            <ac:spMk id="13" creationId="{6FA4CA2A-1180-4A6C-A15B-7FF67C49B737}"/>
          </ac:spMkLst>
        </pc:spChg>
        <pc:spChg chg="mod">
          <ac:chgData name="Myrvag, Oda" userId="a8cbc5d5-a60f-469f-af81-81e559ffaccc" providerId="ADAL" clId="{81613F7F-5A23-4E29-8F93-D381433B8D2A}" dt="2022-05-06T16:11:53.435" v="5864"/>
          <ac:spMkLst>
            <pc:docMk/>
            <pc:sldMk cId="3289710103" sldId="2147309169"/>
            <ac:spMk id="14" creationId="{2AF90FC3-6F3F-4BE7-AC89-0E2E1E29E330}"/>
          </ac:spMkLst>
        </pc:spChg>
        <pc:spChg chg="mod">
          <ac:chgData name="Myrvag, Oda" userId="a8cbc5d5-a60f-469f-af81-81e559ffaccc" providerId="ADAL" clId="{81613F7F-5A23-4E29-8F93-D381433B8D2A}" dt="2022-05-06T16:11:53.435" v="5864"/>
          <ac:spMkLst>
            <pc:docMk/>
            <pc:sldMk cId="3289710103" sldId="2147309169"/>
            <ac:spMk id="15" creationId="{154DDD30-3398-467F-8237-DD38C803E765}"/>
          </ac:spMkLst>
        </pc:spChg>
        <pc:spChg chg="mod">
          <ac:chgData name="Myrvag, Oda" userId="a8cbc5d5-a60f-469f-af81-81e559ffaccc" providerId="ADAL" clId="{81613F7F-5A23-4E29-8F93-D381433B8D2A}" dt="2022-05-06T16:11:53.435" v="5864"/>
          <ac:spMkLst>
            <pc:docMk/>
            <pc:sldMk cId="3289710103" sldId="2147309169"/>
            <ac:spMk id="16" creationId="{B4DA61C8-0B26-4080-839B-BDFD96CF47B0}"/>
          </ac:spMkLst>
        </pc:spChg>
        <pc:spChg chg="mod">
          <ac:chgData name="Myrvag, Oda" userId="a8cbc5d5-a60f-469f-af81-81e559ffaccc" providerId="ADAL" clId="{81613F7F-5A23-4E29-8F93-D381433B8D2A}" dt="2022-05-06T16:11:53.435" v="5864"/>
          <ac:spMkLst>
            <pc:docMk/>
            <pc:sldMk cId="3289710103" sldId="2147309169"/>
            <ac:spMk id="20" creationId="{7C8AA404-1545-4DC3-8463-E58A155F88BE}"/>
          </ac:spMkLst>
        </pc:spChg>
        <pc:grpChg chg="mod">
          <ac:chgData name="Myrvag, Oda" userId="a8cbc5d5-a60f-469f-af81-81e559ffaccc" providerId="ADAL" clId="{81613F7F-5A23-4E29-8F93-D381433B8D2A}" dt="2022-05-06T16:11:53.435" v="5864"/>
          <ac:grpSpMkLst>
            <pc:docMk/>
            <pc:sldMk cId="3289710103" sldId="2147309169"/>
            <ac:grpSpMk id="1" creationId="{00000000-0000-0000-0000-000000000000}"/>
          </ac:grpSpMkLst>
        </pc:grpChg>
        <pc:graphicFrameChg chg="mod">
          <ac:chgData name="Myrvag, Oda" userId="a8cbc5d5-a60f-469f-af81-81e559ffaccc" providerId="ADAL" clId="{81613F7F-5A23-4E29-8F93-D381433B8D2A}" dt="2022-05-06T16:12:14.420" v="5884"/>
          <ac:graphicFrameMkLst>
            <pc:docMk/>
            <pc:sldMk cId="3289710103" sldId="2147309169"/>
            <ac:graphicFrameMk id="4" creationId="{0713B360-6832-4579-9F39-37C46A2B0E68}"/>
          </ac:graphicFrameMkLst>
        </pc:graphicFrameChg>
        <pc:picChg chg="add mod">
          <ac:chgData name="Myrvag, Oda" userId="a8cbc5d5-a60f-469f-af81-81e559ffaccc" providerId="ADAL" clId="{81613F7F-5A23-4E29-8F93-D381433B8D2A}" dt="2022-05-06T16:14:26.564" v="5928" actId="14100"/>
          <ac:picMkLst>
            <pc:docMk/>
            <pc:sldMk cId="3289710103" sldId="2147309169"/>
            <ac:picMk id="6" creationId="{BD7CC1CD-827C-4E32-BED8-614C345685BD}"/>
          </ac:picMkLst>
        </pc:picChg>
        <pc:picChg chg="del mod">
          <ac:chgData name="Myrvag, Oda" userId="a8cbc5d5-a60f-469f-af81-81e559ffaccc" providerId="ADAL" clId="{81613F7F-5A23-4E29-8F93-D381433B8D2A}" dt="2022-05-06T16:14:19.718" v="5924" actId="478"/>
          <ac:picMkLst>
            <pc:docMk/>
            <pc:sldMk cId="3289710103" sldId="2147309169"/>
            <ac:picMk id="19" creationId="{2F665A5B-67BD-483F-9E23-A81AD80D67FE}"/>
          </ac:picMkLst>
        </pc:picChg>
      </pc:sldChg>
      <pc:sldChg chg="addSp delSp modSp new add mod modNotesTx">
        <pc:chgData name="Myrvag, Oda" userId="a8cbc5d5-a60f-469f-af81-81e559ffaccc" providerId="ADAL" clId="{81613F7F-5A23-4E29-8F93-D381433B8D2A}" dt="2022-05-10T07:28:03.703" v="26130" actId="20577"/>
        <pc:sldMkLst>
          <pc:docMk/>
          <pc:sldMk cId="37023422" sldId="2147309170"/>
        </pc:sldMkLst>
        <pc:spChg chg="mod ord">
          <ac:chgData name="Myrvag, Oda" userId="a8cbc5d5-a60f-469f-af81-81e559ffaccc" providerId="ADAL" clId="{81613F7F-5A23-4E29-8F93-D381433B8D2A}" dt="2022-05-07T07:29:22.622" v="21309" actId="948"/>
          <ac:spMkLst>
            <pc:docMk/>
            <pc:sldMk cId="37023422" sldId="2147309170"/>
            <ac:spMk id="2" creationId="{5BBEF4AB-3737-4E34-BD51-2BDB17B15EEE}"/>
          </ac:spMkLst>
        </pc:spChg>
        <pc:spChg chg="del mod">
          <ac:chgData name="Myrvag, Oda" userId="a8cbc5d5-a60f-469f-af81-81e559ffaccc" providerId="ADAL" clId="{81613F7F-5A23-4E29-8F93-D381433B8D2A}" dt="2022-05-06T16:59:08.585" v="10151" actId="478"/>
          <ac:spMkLst>
            <pc:docMk/>
            <pc:sldMk cId="37023422" sldId="2147309170"/>
            <ac:spMk id="3" creationId="{08D046A7-9EB4-4CF9-BDF1-5E7B102F26CA}"/>
          </ac:spMkLst>
        </pc:spChg>
        <pc:spChg chg="add del mod modVis">
          <ac:chgData name="Myrvag, Oda" userId="a8cbc5d5-a60f-469f-af81-81e559ffaccc" providerId="ADAL" clId="{81613F7F-5A23-4E29-8F93-D381433B8D2A}" dt="2022-05-06T21:21:21.622" v="16107"/>
          <ac:spMkLst>
            <pc:docMk/>
            <pc:sldMk cId="37023422" sldId="2147309170"/>
            <ac:spMk id="3" creationId="{4EC6EE9C-89E5-4877-A19B-9E1CD64EE9BB}"/>
          </ac:spMkLst>
        </pc:spChg>
        <pc:spChg chg="add del mod modVis">
          <ac:chgData name="Myrvag, Oda" userId="a8cbc5d5-a60f-469f-af81-81e559ffaccc" providerId="ADAL" clId="{81613F7F-5A23-4E29-8F93-D381433B8D2A}" dt="2022-05-07T07:24:31.685" v="20810"/>
          <ac:spMkLst>
            <pc:docMk/>
            <pc:sldMk cId="37023422" sldId="2147309170"/>
            <ac:spMk id="3" creationId="{FFD56298-3FD8-4BF5-8C2B-777CB23B4AE5}"/>
          </ac:spMkLst>
        </pc:spChg>
        <pc:spChg chg="add del mod modVis">
          <ac:chgData name="Myrvag, Oda" userId="a8cbc5d5-a60f-469f-af81-81e559ffaccc" providerId="ADAL" clId="{81613F7F-5A23-4E29-8F93-D381433B8D2A}" dt="2022-05-06T16:40:12.823" v="8292"/>
          <ac:spMkLst>
            <pc:docMk/>
            <pc:sldMk cId="37023422" sldId="2147309170"/>
            <ac:spMk id="4" creationId="{136588CA-CD3F-43AB-95CB-76C323C95C8A}"/>
          </ac:spMkLst>
        </pc:spChg>
        <pc:spChg chg="add del mod modVis">
          <ac:chgData name="Myrvag, Oda" userId="a8cbc5d5-a60f-469f-af81-81e559ffaccc" providerId="ADAL" clId="{81613F7F-5A23-4E29-8F93-D381433B8D2A}" dt="2022-05-07T07:24:34.310" v="20853"/>
          <ac:spMkLst>
            <pc:docMk/>
            <pc:sldMk cId="37023422" sldId="2147309170"/>
            <ac:spMk id="4" creationId="{253F8BDB-6668-4A85-98AF-596C8F3F1485}"/>
          </ac:spMkLst>
        </pc:spChg>
        <pc:spChg chg="add del mod modVis">
          <ac:chgData name="Myrvag, Oda" userId="a8cbc5d5-a60f-469f-af81-81e559ffaccc" providerId="ADAL" clId="{81613F7F-5A23-4E29-8F93-D381433B8D2A}" dt="2022-05-06T16:40:14.414" v="8349"/>
          <ac:spMkLst>
            <pc:docMk/>
            <pc:sldMk cId="37023422" sldId="2147309170"/>
            <ac:spMk id="6" creationId="{BA3601BD-B3F4-422F-9915-4A0471B93633}"/>
          </ac:spMkLst>
        </pc:spChg>
        <pc:spChg chg="add del mod modVis">
          <ac:chgData name="Myrvag, Oda" userId="a8cbc5d5-a60f-469f-af81-81e559ffaccc" providerId="ADAL" clId="{81613F7F-5A23-4E29-8F93-D381433B8D2A}" dt="2022-05-07T07:24:36.948" v="20896"/>
          <ac:spMkLst>
            <pc:docMk/>
            <pc:sldMk cId="37023422" sldId="2147309170"/>
            <ac:spMk id="6" creationId="{FD8E8455-C190-4B0A-9012-B22C24CF9840}"/>
          </ac:spMkLst>
        </pc:spChg>
        <pc:spChg chg="add del mod modVis">
          <ac:chgData name="Myrvag, Oda" userId="a8cbc5d5-a60f-469f-af81-81e559ffaccc" providerId="ADAL" clId="{81613F7F-5A23-4E29-8F93-D381433B8D2A}" dt="2022-05-06T16:40:16.966" v="8392"/>
          <ac:spMkLst>
            <pc:docMk/>
            <pc:sldMk cId="37023422" sldId="2147309170"/>
            <ac:spMk id="7" creationId="{BC217FA3-420C-420A-95D6-AC796F676B76}"/>
          </ac:spMkLst>
        </pc:spChg>
        <pc:spChg chg="add del mod modVis">
          <ac:chgData name="Myrvag, Oda" userId="a8cbc5d5-a60f-469f-af81-81e559ffaccc" providerId="ADAL" clId="{81613F7F-5A23-4E29-8F93-D381433B8D2A}" dt="2022-05-07T07:24:44.100" v="20954"/>
          <ac:spMkLst>
            <pc:docMk/>
            <pc:sldMk cId="37023422" sldId="2147309170"/>
            <ac:spMk id="7" creationId="{FAE1676B-53F3-4105-A471-A1C13863F8E3}"/>
          </ac:spMkLst>
        </pc:spChg>
        <pc:spChg chg="add del mod modVis">
          <ac:chgData name="Myrvag, Oda" userId="a8cbc5d5-a60f-469f-af81-81e559ffaccc" providerId="ADAL" clId="{81613F7F-5A23-4E29-8F93-D381433B8D2A}" dt="2022-05-06T16:40:18.889" v="8445"/>
          <ac:spMkLst>
            <pc:docMk/>
            <pc:sldMk cId="37023422" sldId="2147309170"/>
            <ac:spMk id="8" creationId="{5C83ECF8-482B-4309-BF70-DAFCB7F85EE5}"/>
          </ac:spMkLst>
        </pc:spChg>
        <pc:spChg chg="add del mod modVis">
          <ac:chgData name="Myrvag, Oda" userId="a8cbc5d5-a60f-469f-af81-81e559ffaccc" providerId="ADAL" clId="{81613F7F-5A23-4E29-8F93-D381433B8D2A}" dt="2022-05-07T07:24:46.205" v="21002"/>
          <ac:spMkLst>
            <pc:docMk/>
            <pc:sldMk cId="37023422" sldId="2147309170"/>
            <ac:spMk id="8" creationId="{B7AA69A9-F4A2-4933-9902-5F2E86B64A67}"/>
          </ac:spMkLst>
        </pc:spChg>
        <pc:spChg chg="add del mod modVis">
          <ac:chgData name="Myrvag, Oda" userId="a8cbc5d5-a60f-469f-af81-81e559ffaccc" providerId="ADAL" clId="{81613F7F-5A23-4E29-8F93-D381433B8D2A}" dt="2022-05-06T16:40:21.339" v="8503"/>
          <ac:spMkLst>
            <pc:docMk/>
            <pc:sldMk cId="37023422" sldId="2147309170"/>
            <ac:spMk id="9" creationId="{41DA708D-4E1B-4AAD-9316-0FD91672B7B7}"/>
          </ac:spMkLst>
        </pc:spChg>
        <pc:spChg chg="add del mod">
          <ac:chgData name="Myrvag, Oda" userId="a8cbc5d5-a60f-469f-af81-81e559ffaccc" providerId="ADAL" clId="{81613F7F-5A23-4E29-8F93-D381433B8D2A}" dt="2022-05-07T07:39:31.413" v="22595" actId="478"/>
          <ac:spMkLst>
            <pc:docMk/>
            <pc:sldMk cId="37023422" sldId="2147309170"/>
            <ac:spMk id="9" creationId="{5FA2E3F0-39CA-42FE-A6B3-A5834CB2DEA3}"/>
          </ac:spMkLst>
        </pc:spChg>
        <pc:spChg chg="add del mod modVis">
          <ac:chgData name="Myrvag, Oda" userId="a8cbc5d5-a60f-469f-af81-81e559ffaccc" providerId="ADAL" clId="{81613F7F-5A23-4E29-8F93-D381433B8D2A}" dt="2022-05-06T16:40:22.802" v="8547"/>
          <ac:spMkLst>
            <pc:docMk/>
            <pc:sldMk cId="37023422" sldId="2147309170"/>
            <ac:spMk id="10" creationId="{26EC00FB-9718-4947-B38E-D314C08418F2}"/>
          </ac:spMkLst>
        </pc:spChg>
        <pc:spChg chg="add del mod modVis">
          <ac:chgData name="Myrvag, Oda" userId="a8cbc5d5-a60f-469f-af81-81e559ffaccc" providerId="ADAL" clId="{81613F7F-5A23-4E29-8F93-D381433B8D2A}" dt="2022-05-07T07:29:21.996" v="21305"/>
          <ac:spMkLst>
            <pc:docMk/>
            <pc:sldMk cId="37023422" sldId="2147309170"/>
            <ac:spMk id="10" creationId="{B2009A72-1E1D-4ACB-9E4A-1559FC6BC973}"/>
          </ac:spMkLst>
        </pc:spChg>
        <pc:spChg chg="add del mod modVis">
          <ac:chgData name="Myrvag, Oda" userId="a8cbc5d5-a60f-469f-af81-81e559ffaccc" providerId="ADAL" clId="{81613F7F-5A23-4E29-8F93-D381433B8D2A}" dt="2022-05-06T16:40:23.707" v="8590"/>
          <ac:spMkLst>
            <pc:docMk/>
            <pc:sldMk cId="37023422" sldId="2147309170"/>
            <ac:spMk id="11" creationId="{02703B19-BD99-4AF1-A083-E0E8FCF3981C}"/>
          </ac:spMkLst>
        </pc:spChg>
        <pc:spChg chg="add del mod modVis">
          <ac:chgData name="Myrvag, Oda" userId="a8cbc5d5-a60f-469f-af81-81e559ffaccc" providerId="ADAL" clId="{81613F7F-5A23-4E29-8F93-D381433B8D2A}" dt="2022-05-07T07:29:22.677" v="21348"/>
          <ac:spMkLst>
            <pc:docMk/>
            <pc:sldMk cId="37023422" sldId="2147309170"/>
            <ac:spMk id="11" creationId="{2BC8970F-3786-47EC-B160-C9D406AE26B2}"/>
          </ac:spMkLst>
        </pc:spChg>
        <pc:spChg chg="add del mod modVis">
          <ac:chgData name="Myrvag, Oda" userId="a8cbc5d5-a60f-469f-af81-81e559ffaccc" providerId="ADAL" clId="{81613F7F-5A23-4E29-8F93-D381433B8D2A}" dt="2022-05-06T16:40:24.355" v="8633"/>
          <ac:spMkLst>
            <pc:docMk/>
            <pc:sldMk cId="37023422" sldId="2147309170"/>
            <ac:spMk id="12" creationId="{BFC28F7F-3EDE-4279-9888-BDC1F4100C95}"/>
          </ac:spMkLst>
        </pc:spChg>
        <pc:spChg chg="add del mod">
          <ac:chgData name="Myrvag, Oda" userId="a8cbc5d5-a60f-469f-af81-81e559ffaccc" providerId="ADAL" clId="{81613F7F-5A23-4E29-8F93-D381433B8D2A}" dt="2022-05-07T07:47:16.259" v="22816" actId="478"/>
          <ac:spMkLst>
            <pc:docMk/>
            <pc:sldMk cId="37023422" sldId="2147309170"/>
            <ac:spMk id="12" creationId="{F71BAF79-2F68-41F5-92E6-AE3D13321501}"/>
          </ac:spMkLst>
        </pc:spChg>
        <pc:spChg chg="add del mod modVis">
          <ac:chgData name="Myrvag, Oda" userId="a8cbc5d5-a60f-469f-af81-81e559ffaccc" providerId="ADAL" clId="{81613F7F-5A23-4E29-8F93-D381433B8D2A}" dt="2022-05-06T16:40:29.567" v="8678"/>
          <ac:spMkLst>
            <pc:docMk/>
            <pc:sldMk cId="37023422" sldId="2147309170"/>
            <ac:spMk id="13" creationId="{98657AEC-9CEF-43F2-9ABC-8FD1F47F509E}"/>
          </ac:spMkLst>
        </pc:spChg>
        <pc:spChg chg="add del mod">
          <ac:chgData name="Myrvag, Oda" userId="a8cbc5d5-a60f-469f-af81-81e559ffaccc" providerId="ADAL" clId="{81613F7F-5A23-4E29-8F93-D381433B8D2A}" dt="2022-05-06T18:46:56.045" v="11330" actId="478"/>
          <ac:spMkLst>
            <pc:docMk/>
            <pc:sldMk cId="37023422" sldId="2147309170"/>
            <ac:spMk id="14" creationId="{4349B976-3212-4A1D-81EF-1D9612224D4D}"/>
          </ac:spMkLst>
        </pc:spChg>
        <pc:spChg chg="add del mod">
          <ac:chgData name="Myrvag, Oda" userId="a8cbc5d5-a60f-469f-af81-81e559ffaccc" providerId="ADAL" clId="{81613F7F-5A23-4E29-8F93-D381433B8D2A}" dt="2022-05-07T07:35:02.044" v="21807" actId="478"/>
          <ac:spMkLst>
            <pc:docMk/>
            <pc:sldMk cId="37023422" sldId="2147309170"/>
            <ac:spMk id="16" creationId="{06DB86A9-8C20-424D-8107-627FFB1BF520}"/>
          </ac:spMkLst>
        </pc:spChg>
        <pc:spChg chg="add del mod">
          <ac:chgData name="Myrvag, Oda" userId="a8cbc5d5-a60f-469f-af81-81e559ffaccc" providerId="ADAL" clId="{81613F7F-5A23-4E29-8F93-D381433B8D2A}" dt="2022-05-06T16:59:10.802" v="10152" actId="478"/>
          <ac:spMkLst>
            <pc:docMk/>
            <pc:sldMk cId="37023422" sldId="2147309170"/>
            <ac:spMk id="17" creationId="{8080095C-CE1A-4401-97A0-6B281E62ABFE}"/>
          </ac:spMkLst>
        </pc:spChg>
        <pc:spChg chg="add mod">
          <ac:chgData name="Myrvag, Oda" userId="a8cbc5d5-a60f-469f-af81-81e559ffaccc" providerId="ADAL" clId="{81613F7F-5A23-4E29-8F93-D381433B8D2A}" dt="2022-05-09T12:59:36.396" v="23762" actId="1038"/>
          <ac:spMkLst>
            <pc:docMk/>
            <pc:sldMk cId="37023422" sldId="2147309170"/>
            <ac:spMk id="17" creationId="{92749575-8506-4DEC-B9AA-99B896143FBC}"/>
          </ac:spMkLst>
        </pc:spChg>
        <pc:spChg chg="add del mod">
          <ac:chgData name="Myrvag, Oda" userId="a8cbc5d5-a60f-469f-af81-81e559ffaccc" providerId="ADAL" clId="{81613F7F-5A23-4E29-8F93-D381433B8D2A}" dt="2022-05-07T07:48:08.973" v="22822" actId="478"/>
          <ac:spMkLst>
            <pc:docMk/>
            <pc:sldMk cId="37023422" sldId="2147309170"/>
            <ac:spMk id="18" creationId="{5F70BCD0-4E16-470C-A498-43EC72D040B0}"/>
          </ac:spMkLst>
        </pc:spChg>
        <pc:spChg chg="add del mod ord">
          <ac:chgData name="Myrvag, Oda" userId="a8cbc5d5-a60f-469f-af81-81e559ffaccc" providerId="ADAL" clId="{81613F7F-5A23-4E29-8F93-D381433B8D2A}" dt="2022-05-06T21:21:35.474" v="16113" actId="478"/>
          <ac:spMkLst>
            <pc:docMk/>
            <pc:sldMk cId="37023422" sldId="2147309170"/>
            <ac:spMk id="18" creationId="{6DCE6109-BFB0-411D-8471-58C541D246D6}"/>
          </ac:spMkLst>
        </pc:spChg>
        <pc:spChg chg="add del mod ord">
          <ac:chgData name="Myrvag, Oda" userId="a8cbc5d5-a60f-469f-af81-81e559ffaccc" providerId="ADAL" clId="{81613F7F-5A23-4E29-8F93-D381433B8D2A}" dt="2022-05-07T07:29:10.182" v="21262" actId="478"/>
          <ac:spMkLst>
            <pc:docMk/>
            <pc:sldMk cId="37023422" sldId="2147309170"/>
            <ac:spMk id="19" creationId="{F05630FA-5C29-4978-81B4-9D12F282EE3C}"/>
          </ac:spMkLst>
        </pc:spChg>
        <pc:spChg chg="add mod">
          <ac:chgData name="Myrvag, Oda" userId="a8cbc5d5-a60f-469f-af81-81e559ffaccc" providerId="ADAL" clId="{81613F7F-5A23-4E29-8F93-D381433B8D2A}" dt="2022-05-09T12:59:36.396" v="23762" actId="1038"/>
          <ac:spMkLst>
            <pc:docMk/>
            <pc:sldMk cId="37023422" sldId="2147309170"/>
            <ac:spMk id="20" creationId="{8DB7B6C3-14BB-412A-A75F-811803A9DE92}"/>
          </ac:spMkLst>
        </pc:spChg>
        <pc:spChg chg="add del mod ord">
          <ac:chgData name="Myrvag, Oda" userId="a8cbc5d5-a60f-469f-af81-81e559ffaccc" providerId="ADAL" clId="{81613F7F-5A23-4E29-8F93-D381433B8D2A}" dt="2022-05-07T07:36:37.931" v="21950" actId="478"/>
          <ac:spMkLst>
            <pc:docMk/>
            <pc:sldMk cId="37023422" sldId="2147309170"/>
            <ac:spMk id="21" creationId="{27E39F41-BC83-4143-AFC8-172F57734AA0}"/>
          </ac:spMkLst>
        </pc:spChg>
        <pc:spChg chg="add mod">
          <ac:chgData name="Myrvag, Oda" userId="a8cbc5d5-a60f-469f-af81-81e559ffaccc" providerId="ADAL" clId="{81613F7F-5A23-4E29-8F93-D381433B8D2A}" dt="2022-05-10T07:27:33.247" v="26127" actId="20577"/>
          <ac:spMkLst>
            <pc:docMk/>
            <pc:sldMk cId="37023422" sldId="2147309170"/>
            <ac:spMk id="22" creationId="{CB2C523B-F598-41F8-9EA3-1F2861C6328C}"/>
          </ac:spMkLst>
        </pc:spChg>
        <pc:spChg chg="add del mod modVis">
          <ac:chgData name="Myrvag, Oda" userId="a8cbc5d5-a60f-469f-af81-81e559ffaccc" providerId="ADAL" clId="{81613F7F-5A23-4E29-8F93-D381433B8D2A}" dt="2022-05-06T20:40:08.608" v="12600"/>
          <ac:spMkLst>
            <pc:docMk/>
            <pc:sldMk cId="37023422" sldId="2147309170"/>
            <ac:spMk id="22" creationId="{F10F02CB-908A-4E58-9BD8-00E7802C9517}"/>
          </ac:spMkLst>
        </pc:spChg>
        <pc:spChg chg="add mod">
          <ac:chgData name="Myrvag, Oda" userId="a8cbc5d5-a60f-469f-af81-81e559ffaccc" providerId="ADAL" clId="{81613F7F-5A23-4E29-8F93-D381433B8D2A}" dt="2022-05-09T12:59:36.396" v="23762" actId="1038"/>
          <ac:spMkLst>
            <pc:docMk/>
            <pc:sldMk cId="37023422" sldId="2147309170"/>
            <ac:spMk id="23" creationId="{9E446340-5E6B-48FD-9340-3D470DA2E5E1}"/>
          </ac:spMkLst>
        </pc:spChg>
        <pc:spChg chg="add del mod modVis">
          <ac:chgData name="Myrvag, Oda" userId="a8cbc5d5-a60f-469f-af81-81e559ffaccc" providerId="ADAL" clId="{81613F7F-5A23-4E29-8F93-D381433B8D2A}" dt="2022-05-06T20:40:09.582" v="12644"/>
          <ac:spMkLst>
            <pc:docMk/>
            <pc:sldMk cId="37023422" sldId="2147309170"/>
            <ac:spMk id="23" creationId="{A5CC5DE6-A88E-4D42-9BF0-E5E1EFBB9479}"/>
          </ac:spMkLst>
        </pc:spChg>
        <pc:spChg chg="add del mod modVis">
          <ac:chgData name="Myrvag, Oda" userId="a8cbc5d5-a60f-469f-af81-81e559ffaccc" providerId="ADAL" clId="{81613F7F-5A23-4E29-8F93-D381433B8D2A}" dt="2022-05-06T20:40:12.514" v="12691"/>
          <ac:spMkLst>
            <pc:docMk/>
            <pc:sldMk cId="37023422" sldId="2147309170"/>
            <ac:spMk id="24" creationId="{2E370338-E7EF-43C7-B386-CDB4F2306558}"/>
          </ac:spMkLst>
        </pc:spChg>
        <pc:spChg chg="add del mod">
          <ac:chgData name="Myrvag, Oda" userId="a8cbc5d5-a60f-469f-af81-81e559ffaccc" providerId="ADAL" clId="{81613F7F-5A23-4E29-8F93-D381433B8D2A}" dt="2022-05-07T07:39:34.123" v="22596" actId="478"/>
          <ac:spMkLst>
            <pc:docMk/>
            <pc:sldMk cId="37023422" sldId="2147309170"/>
            <ac:spMk id="24" creationId="{7AF97D61-6CB8-4C11-9967-E0D573786696}"/>
          </ac:spMkLst>
        </pc:spChg>
        <pc:spChg chg="add mod">
          <ac:chgData name="Myrvag, Oda" userId="a8cbc5d5-a60f-469f-af81-81e559ffaccc" providerId="ADAL" clId="{81613F7F-5A23-4E29-8F93-D381433B8D2A}" dt="2022-05-09T12:59:36.396" v="23762" actId="1038"/>
          <ac:spMkLst>
            <pc:docMk/>
            <pc:sldMk cId="37023422" sldId="2147309170"/>
            <ac:spMk id="25" creationId="{EC24E5F3-5126-4545-BDE3-B3F42F579DF2}"/>
          </ac:spMkLst>
        </pc:spChg>
        <pc:spChg chg="add del mod modVis">
          <ac:chgData name="Myrvag, Oda" userId="a8cbc5d5-a60f-469f-af81-81e559ffaccc" providerId="ADAL" clId="{81613F7F-5A23-4E29-8F93-D381433B8D2A}" dt="2022-05-06T20:40:14.556" v="12743"/>
          <ac:spMkLst>
            <pc:docMk/>
            <pc:sldMk cId="37023422" sldId="2147309170"/>
            <ac:spMk id="25" creationId="{F2302155-6579-417F-851A-B24DFA0E599C}"/>
          </ac:spMkLst>
        </pc:spChg>
        <pc:spChg chg="add mod">
          <ac:chgData name="Myrvag, Oda" userId="a8cbc5d5-a60f-469f-af81-81e559ffaccc" providerId="ADAL" clId="{81613F7F-5A23-4E29-8F93-D381433B8D2A}" dt="2022-05-09T12:59:36.396" v="23762" actId="1038"/>
          <ac:spMkLst>
            <pc:docMk/>
            <pc:sldMk cId="37023422" sldId="2147309170"/>
            <ac:spMk id="26" creationId="{C5093BA7-8369-42B2-9ECF-A098EBEE7830}"/>
          </ac:spMkLst>
        </pc:spChg>
        <pc:spChg chg="add del mod modVis">
          <ac:chgData name="Myrvag, Oda" userId="a8cbc5d5-a60f-469f-af81-81e559ffaccc" providerId="ADAL" clId="{81613F7F-5A23-4E29-8F93-D381433B8D2A}" dt="2022-05-06T20:40:15.845" v="12789"/>
          <ac:spMkLst>
            <pc:docMk/>
            <pc:sldMk cId="37023422" sldId="2147309170"/>
            <ac:spMk id="26" creationId="{FA0C0FE7-1198-46FE-B8B1-00C553453150}"/>
          </ac:spMkLst>
        </pc:spChg>
        <pc:spChg chg="add del mod modVis">
          <ac:chgData name="Myrvag, Oda" userId="a8cbc5d5-a60f-469f-af81-81e559ffaccc" providerId="ADAL" clId="{81613F7F-5A23-4E29-8F93-D381433B8D2A}" dt="2022-05-06T20:40:16.638" v="12832"/>
          <ac:spMkLst>
            <pc:docMk/>
            <pc:sldMk cId="37023422" sldId="2147309170"/>
            <ac:spMk id="27" creationId="{905C2018-6035-4012-B352-222D95025CD8}"/>
          </ac:spMkLst>
        </pc:spChg>
        <pc:spChg chg="add mod">
          <ac:chgData name="Myrvag, Oda" userId="a8cbc5d5-a60f-469f-af81-81e559ffaccc" providerId="ADAL" clId="{81613F7F-5A23-4E29-8F93-D381433B8D2A}" dt="2022-05-09T12:59:36.396" v="23762" actId="1038"/>
          <ac:spMkLst>
            <pc:docMk/>
            <pc:sldMk cId="37023422" sldId="2147309170"/>
            <ac:spMk id="27" creationId="{C38CA3AA-D2EC-4A2D-A9B6-A6A84B7D3BC9}"/>
          </ac:spMkLst>
        </pc:spChg>
        <pc:spChg chg="add mod">
          <ac:chgData name="Myrvag, Oda" userId="a8cbc5d5-a60f-469f-af81-81e559ffaccc" providerId="ADAL" clId="{81613F7F-5A23-4E29-8F93-D381433B8D2A}" dt="2022-05-09T12:59:36.396" v="23762" actId="1038"/>
          <ac:spMkLst>
            <pc:docMk/>
            <pc:sldMk cId="37023422" sldId="2147309170"/>
            <ac:spMk id="28" creationId="{82B662D1-7B61-4289-9B33-8E8AD0FCA795}"/>
          </ac:spMkLst>
        </pc:spChg>
        <pc:spChg chg="add del mod modVis">
          <ac:chgData name="Myrvag, Oda" userId="a8cbc5d5-a60f-469f-af81-81e559ffaccc" providerId="ADAL" clId="{81613F7F-5A23-4E29-8F93-D381433B8D2A}" dt="2022-05-06T20:40:21.068" v="12898"/>
          <ac:spMkLst>
            <pc:docMk/>
            <pc:sldMk cId="37023422" sldId="2147309170"/>
            <ac:spMk id="28" creationId="{83E207A3-F5E4-41EA-A2A0-D9ACD42D9B27}"/>
          </ac:spMkLst>
        </pc:spChg>
        <pc:spChg chg="add del mod modVis">
          <ac:chgData name="Myrvag, Oda" userId="a8cbc5d5-a60f-469f-af81-81e559ffaccc" providerId="ADAL" clId="{81613F7F-5A23-4E29-8F93-D381433B8D2A}" dt="2022-05-06T20:40:22.623" v="12947"/>
          <ac:spMkLst>
            <pc:docMk/>
            <pc:sldMk cId="37023422" sldId="2147309170"/>
            <ac:spMk id="29" creationId="{CDB1384D-2CC6-47B8-99E0-C96D26CC3FBA}"/>
          </ac:spMkLst>
        </pc:spChg>
        <pc:spChg chg="add del mod modVis">
          <ac:chgData name="Myrvag, Oda" userId="a8cbc5d5-a60f-469f-af81-81e559ffaccc" providerId="ADAL" clId="{81613F7F-5A23-4E29-8F93-D381433B8D2A}" dt="2022-05-06T20:40:24.302" v="12994"/>
          <ac:spMkLst>
            <pc:docMk/>
            <pc:sldMk cId="37023422" sldId="2147309170"/>
            <ac:spMk id="30" creationId="{26316677-45F6-4196-9F9F-8868B1266359}"/>
          </ac:spMkLst>
        </pc:spChg>
        <pc:spChg chg="add mod">
          <ac:chgData name="Myrvag, Oda" userId="a8cbc5d5-a60f-469f-af81-81e559ffaccc" providerId="ADAL" clId="{81613F7F-5A23-4E29-8F93-D381433B8D2A}" dt="2022-05-07T07:42:44.798" v="22688" actId="571"/>
          <ac:spMkLst>
            <pc:docMk/>
            <pc:sldMk cId="37023422" sldId="2147309170"/>
            <ac:spMk id="31" creationId="{72130AFC-99AC-4510-9705-2B0D0641701B}"/>
          </ac:spMkLst>
        </pc:spChg>
        <pc:spChg chg="add del mod modVis">
          <ac:chgData name="Myrvag, Oda" userId="a8cbc5d5-a60f-469f-af81-81e559ffaccc" providerId="ADAL" clId="{81613F7F-5A23-4E29-8F93-D381433B8D2A}" dt="2022-05-06T20:40:25.954" v="13045"/>
          <ac:spMkLst>
            <pc:docMk/>
            <pc:sldMk cId="37023422" sldId="2147309170"/>
            <ac:spMk id="31" creationId="{81297C9E-0FDE-438A-9219-5C2D1305B931}"/>
          </ac:spMkLst>
        </pc:spChg>
        <pc:spChg chg="add del mod modVis">
          <ac:chgData name="Myrvag, Oda" userId="a8cbc5d5-a60f-469f-af81-81e559ffaccc" providerId="ADAL" clId="{81613F7F-5A23-4E29-8F93-D381433B8D2A}" dt="2022-05-06T20:40:26.919" v="13088"/>
          <ac:spMkLst>
            <pc:docMk/>
            <pc:sldMk cId="37023422" sldId="2147309170"/>
            <ac:spMk id="32" creationId="{362D3E29-213A-4E9A-AEF2-25B0ACABCDE1}"/>
          </ac:spMkLst>
        </pc:spChg>
        <pc:spChg chg="add del mod">
          <ac:chgData name="Myrvag, Oda" userId="a8cbc5d5-a60f-469f-af81-81e559ffaccc" providerId="ADAL" clId="{81613F7F-5A23-4E29-8F93-D381433B8D2A}" dt="2022-05-07T07:47:16.259" v="22816" actId="478"/>
          <ac:spMkLst>
            <pc:docMk/>
            <pc:sldMk cId="37023422" sldId="2147309170"/>
            <ac:spMk id="32" creationId="{BD820839-6CEA-4616-865F-73A19BB16058}"/>
          </ac:spMkLst>
        </pc:spChg>
        <pc:spChg chg="add del mod modVis">
          <ac:chgData name="Myrvag, Oda" userId="a8cbc5d5-a60f-469f-af81-81e559ffaccc" providerId="ADAL" clId="{81613F7F-5A23-4E29-8F93-D381433B8D2A}" dt="2022-05-06T20:40:29.655" v="13140"/>
          <ac:spMkLst>
            <pc:docMk/>
            <pc:sldMk cId="37023422" sldId="2147309170"/>
            <ac:spMk id="33" creationId="{219320B4-86C1-4D08-A41E-5793C9959939}"/>
          </ac:spMkLst>
        </pc:spChg>
        <pc:spChg chg="add del mod">
          <ac:chgData name="Myrvag, Oda" userId="a8cbc5d5-a60f-469f-af81-81e559ffaccc" providerId="ADAL" clId="{81613F7F-5A23-4E29-8F93-D381433B8D2A}" dt="2022-05-07T07:46:50.791" v="22799" actId="478"/>
          <ac:spMkLst>
            <pc:docMk/>
            <pc:sldMk cId="37023422" sldId="2147309170"/>
            <ac:spMk id="33" creationId="{D5B76434-0CEC-4AA4-A389-8D69D07CA48F}"/>
          </ac:spMkLst>
        </pc:spChg>
        <pc:spChg chg="add del mod modVis">
          <ac:chgData name="Myrvag, Oda" userId="a8cbc5d5-a60f-469f-af81-81e559ffaccc" providerId="ADAL" clId="{81613F7F-5A23-4E29-8F93-D381433B8D2A}" dt="2022-05-06T20:40:32.050" v="13193"/>
          <ac:spMkLst>
            <pc:docMk/>
            <pc:sldMk cId="37023422" sldId="2147309170"/>
            <ac:spMk id="34" creationId="{3EE18809-5814-4456-B18A-5D4CDBF23A41}"/>
          </ac:spMkLst>
        </pc:spChg>
        <pc:spChg chg="add del mod">
          <ac:chgData name="Myrvag, Oda" userId="a8cbc5d5-a60f-469f-af81-81e559ffaccc" providerId="ADAL" clId="{81613F7F-5A23-4E29-8F93-D381433B8D2A}" dt="2022-05-07T07:47:16.259" v="22816" actId="478"/>
          <ac:spMkLst>
            <pc:docMk/>
            <pc:sldMk cId="37023422" sldId="2147309170"/>
            <ac:spMk id="34" creationId="{DD2A8A60-0584-4E37-8E41-0279C8130CA5}"/>
          </ac:spMkLst>
        </pc:spChg>
        <pc:spChg chg="add del mod modVis">
          <ac:chgData name="Myrvag, Oda" userId="a8cbc5d5-a60f-469f-af81-81e559ffaccc" providerId="ADAL" clId="{81613F7F-5A23-4E29-8F93-D381433B8D2A}" dt="2022-05-06T20:40:33.936" v="13246"/>
          <ac:spMkLst>
            <pc:docMk/>
            <pc:sldMk cId="37023422" sldId="2147309170"/>
            <ac:spMk id="35" creationId="{495DC5BC-A165-4B24-810A-49A8A7824775}"/>
          </ac:spMkLst>
        </pc:spChg>
        <pc:spChg chg="add del mod">
          <ac:chgData name="Myrvag, Oda" userId="a8cbc5d5-a60f-469f-af81-81e559ffaccc" providerId="ADAL" clId="{81613F7F-5A23-4E29-8F93-D381433B8D2A}" dt="2022-05-07T07:47:16.259" v="22816" actId="478"/>
          <ac:spMkLst>
            <pc:docMk/>
            <pc:sldMk cId="37023422" sldId="2147309170"/>
            <ac:spMk id="35" creationId="{A27C754D-91E1-4AB4-8575-E60D3462D016}"/>
          </ac:spMkLst>
        </pc:spChg>
        <pc:spChg chg="add del mod">
          <ac:chgData name="Myrvag, Oda" userId="a8cbc5d5-a60f-469f-af81-81e559ffaccc" providerId="ADAL" clId="{81613F7F-5A23-4E29-8F93-D381433B8D2A}" dt="2022-05-07T07:47:16.259" v="22816" actId="478"/>
          <ac:spMkLst>
            <pc:docMk/>
            <pc:sldMk cId="37023422" sldId="2147309170"/>
            <ac:spMk id="36" creationId="{5F0D95A4-0896-4E04-B4A7-3CD848098527}"/>
          </ac:spMkLst>
        </pc:spChg>
        <pc:spChg chg="add del mod modVis">
          <ac:chgData name="Myrvag, Oda" userId="a8cbc5d5-a60f-469f-af81-81e559ffaccc" providerId="ADAL" clId="{81613F7F-5A23-4E29-8F93-D381433B8D2A}" dt="2022-05-06T20:40:34.881" v="13291"/>
          <ac:spMkLst>
            <pc:docMk/>
            <pc:sldMk cId="37023422" sldId="2147309170"/>
            <ac:spMk id="36" creationId="{5F62D1ED-D576-4961-BE9D-826597785E69}"/>
          </ac:spMkLst>
        </pc:spChg>
        <pc:spChg chg="add del mod">
          <ac:chgData name="Myrvag, Oda" userId="a8cbc5d5-a60f-469f-af81-81e559ffaccc" providerId="ADAL" clId="{81613F7F-5A23-4E29-8F93-D381433B8D2A}" dt="2022-05-07T07:47:16.259" v="22816" actId="478"/>
          <ac:spMkLst>
            <pc:docMk/>
            <pc:sldMk cId="37023422" sldId="2147309170"/>
            <ac:spMk id="37" creationId="{1C52F9CE-C9A8-44CE-A076-244EED266A34}"/>
          </ac:spMkLst>
        </pc:spChg>
        <pc:spChg chg="add del mod">
          <ac:chgData name="Myrvag, Oda" userId="a8cbc5d5-a60f-469f-af81-81e559ffaccc" providerId="ADAL" clId="{81613F7F-5A23-4E29-8F93-D381433B8D2A}" dt="2022-05-07T07:47:16.259" v="22816" actId="478"/>
          <ac:spMkLst>
            <pc:docMk/>
            <pc:sldMk cId="37023422" sldId="2147309170"/>
            <ac:spMk id="38" creationId="{3BF04D5F-EB58-4438-A983-75BF9677FFE8}"/>
          </ac:spMkLst>
        </pc:spChg>
        <pc:spChg chg="add mod">
          <ac:chgData name="Myrvag, Oda" userId="a8cbc5d5-a60f-469f-af81-81e559ffaccc" providerId="ADAL" clId="{81613F7F-5A23-4E29-8F93-D381433B8D2A}" dt="2022-05-10T07:28:03.703" v="26130" actId="20577"/>
          <ac:spMkLst>
            <pc:docMk/>
            <pc:sldMk cId="37023422" sldId="2147309170"/>
            <ac:spMk id="39" creationId="{D209756A-4082-4F75-B878-F4EF48B8EECC}"/>
          </ac:spMkLst>
        </pc:spChg>
        <pc:spChg chg="add del mod">
          <ac:chgData name="Myrvag, Oda" userId="a8cbc5d5-a60f-469f-af81-81e559ffaccc" providerId="ADAL" clId="{81613F7F-5A23-4E29-8F93-D381433B8D2A}" dt="2022-05-10T07:27:35.928" v="26128" actId="478"/>
          <ac:spMkLst>
            <pc:docMk/>
            <pc:sldMk cId="37023422" sldId="2147309170"/>
            <ac:spMk id="40" creationId="{D25D5FCD-98BF-4EEE-BD36-285CF2BC8148}"/>
          </ac:spMkLst>
        </pc:spChg>
        <pc:graphicFrameChg chg="add mod ord modVis">
          <ac:chgData name="Myrvag, Oda" userId="a8cbc5d5-a60f-469f-af81-81e559ffaccc" providerId="ADAL" clId="{81613F7F-5A23-4E29-8F93-D381433B8D2A}" dt="2022-05-07T07:29:22.681" v="21350"/>
          <ac:graphicFrameMkLst>
            <pc:docMk/>
            <pc:sldMk cId="37023422" sldId="2147309170"/>
            <ac:graphicFrameMk id="5" creationId="{B55245AD-1EC7-44A7-AD89-01FED25E94DE}"/>
          </ac:graphicFrameMkLst>
        </pc:graphicFrameChg>
        <pc:picChg chg="add del mod ord">
          <ac:chgData name="Myrvag, Oda" userId="a8cbc5d5-a60f-469f-af81-81e559ffaccc" providerId="ADAL" clId="{81613F7F-5A23-4E29-8F93-D381433B8D2A}" dt="2022-05-07T07:34:26.628" v="21799" actId="478"/>
          <ac:picMkLst>
            <pc:docMk/>
            <pc:sldMk cId="37023422" sldId="2147309170"/>
            <ac:picMk id="15" creationId="{F87DE74C-269A-4459-A3A3-B66C28D3CBBE}"/>
          </ac:picMkLst>
        </pc:picChg>
        <pc:picChg chg="add mod">
          <ac:chgData name="Myrvag, Oda" userId="a8cbc5d5-a60f-469f-af81-81e559ffaccc" providerId="ADAL" clId="{81613F7F-5A23-4E29-8F93-D381433B8D2A}" dt="2022-05-09T12:59:40.981" v="23765" actId="1076"/>
          <ac:picMkLst>
            <pc:docMk/>
            <pc:sldMk cId="37023422" sldId="2147309170"/>
            <ac:picMk id="16" creationId="{2E51EE4E-030A-44D7-8B98-F5A6091A8425}"/>
          </ac:picMkLst>
        </pc:picChg>
        <pc:picChg chg="add mod">
          <ac:chgData name="Myrvag, Oda" userId="a8cbc5d5-a60f-469f-af81-81e559ffaccc" providerId="ADAL" clId="{81613F7F-5A23-4E29-8F93-D381433B8D2A}" dt="2022-05-09T13:00:06.463" v="23769" actId="1076"/>
          <ac:picMkLst>
            <pc:docMk/>
            <pc:sldMk cId="37023422" sldId="2147309170"/>
            <ac:picMk id="18" creationId="{34F86460-984B-4361-8693-B541563C1CE6}"/>
          </ac:picMkLst>
        </pc:picChg>
        <pc:picChg chg="add del mod">
          <ac:chgData name="Myrvag, Oda" userId="a8cbc5d5-a60f-469f-af81-81e559ffaccc" providerId="ADAL" clId="{81613F7F-5A23-4E29-8F93-D381433B8D2A}" dt="2022-05-09T12:59:07.138" v="23698" actId="478"/>
          <ac:picMkLst>
            <pc:docMk/>
            <pc:sldMk cId="37023422" sldId="2147309170"/>
            <ac:picMk id="29" creationId="{A34F7953-8792-4A02-B422-13A482C0EB58}"/>
          </ac:picMkLst>
        </pc:picChg>
        <pc:picChg chg="add del mod">
          <ac:chgData name="Myrvag, Oda" userId="a8cbc5d5-a60f-469f-af81-81e559ffaccc" providerId="ADAL" clId="{81613F7F-5A23-4E29-8F93-D381433B8D2A}" dt="2022-05-09T12:59:07.858" v="23699" actId="478"/>
          <ac:picMkLst>
            <pc:docMk/>
            <pc:sldMk cId="37023422" sldId="2147309170"/>
            <ac:picMk id="30" creationId="{4EF21D42-0FAB-4A59-BD55-B07210BF09B2}"/>
          </ac:picMkLst>
        </pc:picChg>
      </pc:sldChg>
      <pc:sldChg chg="addSp delSp modSp add mod addCm delCm modCm modNotesTx">
        <pc:chgData name="Myrvag, Oda" userId="a8cbc5d5-a60f-469f-af81-81e559ffaccc" providerId="ADAL" clId="{81613F7F-5A23-4E29-8F93-D381433B8D2A}" dt="2022-05-10T07:14:12.176" v="24421" actId="20577"/>
        <pc:sldMkLst>
          <pc:docMk/>
          <pc:sldMk cId="3875458243" sldId="2147309171"/>
        </pc:sldMkLst>
        <pc:spChg chg="add del mod">
          <ac:chgData name="Myrvag, Oda" userId="a8cbc5d5-a60f-469f-af81-81e559ffaccc" providerId="ADAL" clId="{81613F7F-5A23-4E29-8F93-D381433B8D2A}" dt="2022-05-10T07:12:29.042" v="24240" actId="478"/>
          <ac:spMkLst>
            <pc:docMk/>
            <pc:sldMk cId="3875458243" sldId="2147309171"/>
            <ac:spMk id="2" creationId="{27A5DE7D-1BA3-4022-963C-9C2DFD6DCF44}"/>
          </ac:spMkLst>
        </pc:spChg>
        <pc:spChg chg="mod">
          <ac:chgData name="Myrvag, Oda" userId="a8cbc5d5-a60f-469f-af81-81e559ffaccc" providerId="ADAL" clId="{81613F7F-5A23-4E29-8F93-D381433B8D2A}" dt="2022-05-06T16:44:22.631" v="8985"/>
          <ac:spMkLst>
            <pc:docMk/>
            <pc:sldMk cId="3875458243" sldId="2147309171"/>
            <ac:spMk id="5" creationId="{6D1DD5A1-4DE5-429C-A09D-6777DDAC2252}"/>
          </ac:spMkLst>
        </pc:spChg>
        <pc:spChg chg="mod">
          <ac:chgData name="Myrvag, Oda" userId="a8cbc5d5-a60f-469f-af81-81e559ffaccc" providerId="ADAL" clId="{81613F7F-5A23-4E29-8F93-D381433B8D2A}" dt="2022-05-06T16:44:22.631" v="8985"/>
          <ac:spMkLst>
            <pc:docMk/>
            <pc:sldMk cId="3875458243" sldId="2147309171"/>
            <ac:spMk id="7" creationId="{F8527C33-0580-43A1-869B-461B68DC2AAA}"/>
          </ac:spMkLst>
        </pc:spChg>
        <pc:spChg chg="mod">
          <ac:chgData name="Myrvag, Oda" userId="a8cbc5d5-a60f-469f-af81-81e559ffaccc" providerId="ADAL" clId="{81613F7F-5A23-4E29-8F93-D381433B8D2A}" dt="2022-05-06T17:05:06.288" v="10679" actId="14100"/>
          <ac:spMkLst>
            <pc:docMk/>
            <pc:sldMk cId="3875458243" sldId="2147309171"/>
            <ac:spMk id="8" creationId="{81AF0185-6617-442A-9C9B-48221C870153}"/>
          </ac:spMkLst>
        </pc:spChg>
        <pc:spChg chg="mod">
          <ac:chgData name="Myrvag, Oda" userId="a8cbc5d5-a60f-469f-af81-81e559ffaccc" providerId="ADAL" clId="{81613F7F-5A23-4E29-8F93-D381433B8D2A}" dt="2022-05-06T17:05:06.288" v="10679" actId="14100"/>
          <ac:spMkLst>
            <pc:docMk/>
            <pc:sldMk cId="3875458243" sldId="2147309171"/>
            <ac:spMk id="10" creationId="{A5B67B4C-07CC-4FC2-B350-46A63A6ACA6D}"/>
          </ac:spMkLst>
        </pc:spChg>
        <pc:spChg chg="mod">
          <ac:chgData name="Myrvag, Oda" userId="a8cbc5d5-a60f-469f-af81-81e559ffaccc" providerId="ADAL" clId="{81613F7F-5A23-4E29-8F93-D381433B8D2A}" dt="2022-05-06T17:05:06.288" v="10679" actId="14100"/>
          <ac:spMkLst>
            <pc:docMk/>
            <pc:sldMk cId="3875458243" sldId="2147309171"/>
            <ac:spMk id="11" creationId="{D4061D49-3770-4E9E-A5D3-877C04449426}"/>
          </ac:spMkLst>
        </pc:spChg>
        <pc:spChg chg="mod">
          <ac:chgData name="Myrvag, Oda" userId="a8cbc5d5-a60f-469f-af81-81e559ffaccc" providerId="ADAL" clId="{81613F7F-5A23-4E29-8F93-D381433B8D2A}" dt="2022-05-06T17:05:06.288" v="10679" actId="14100"/>
          <ac:spMkLst>
            <pc:docMk/>
            <pc:sldMk cId="3875458243" sldId="2147309171"/>
            <ac:spMk id="12" creationId="{F4658979-7B79-4F9D-9605-BB77F332F10A}"/>
          </ac:spMkLst>
        </pc:spChg>
        <pc:spChg chg="del mod">
          <ac:chgData name="Myrvag, Oda" userId="a8cbc5d5-a60f-469f-af81-81e559ffaccc" providerId="ADAL" clId="{81613F7F-5A23-4E29-8F93-D381433B8D2A}" dt="2022-05-06T16:44:25" v="8986" actId="478"/>
          <ac:spMkLst>
            <pc:docMk/>
            <pc:sldMk cId="3875458243" sldId="2147309171"/>
            <ac:spMk id="13" creationId="{6FA4CA2A-1180-4A6C-A15B-7FF67C49B737}"/>
          </ac:spMkLst>
        </pc:spChg>
        <pc:spChg chg="del mod">
          <ac:chgData name="Myrvag, Oda" userId="a8cbc5d5-a60f-469f-af81-81e559ffaccc" providerId="ADAL" clId="{81613F7F-5A23-4E29-8F93-D381433B8D2A}" dt="2022-05-06T16:44:25.430" v="8987" actId="478"/>
          <ac:spMkLst>
            <pc:docMk/>
            <pc:sldMk cId="3875458243" sldId="2147309171"/>
            <ac:spMk id="14" creationId="{2AF90FC3-6F3F-4BE7-AC89-0E2E1E29E330}"/>
          </ac:spMkLst>
        </pc:spChg>
        <pc:spChg chg="del mod">
          <ac:chgData name="Myrvag, Oda" userId="a8cbc5d5-a60f-469f-af81-81e559ffaccc" providerId="ADAL" clId="{81613F7F-5A23-4E29-8F93-D381433B8D2A}" dt="2022-05-06T16:44:25.871" v="8988" actId="478"/>
          <ac:spMkLst>
            <pc:docMk/>
            <pc:sldMk cId="3875458243" sldId="2147309171"/>
            <ac:spMk id="15" creationId="{154DDD30-3398-467F-8237-DD38C803E765}"/>
          </ac:spMkLst>
        </pc:spChg>
        <pc:spChg chg="del mod">
          <ac:chgData name="Myrvag, Oda" userId="a8cbc5d5-a60f-469f-af81-81e559ffaccc" providerId="ADAL" clId="{81613F7F-5A23-4E29-8F93-D381433B8D2A}" dt="2022-05-06T16:44:26.304" v="8989" actId="478"/>
          <ac:spMkLst>
            <pc:docMk/>
            <pc:sldMk cId="3875458243" sldId="2147309171"/>
            <ac:spMk id="16" creationId="{B4DA61C8-0B26-4080-839B-BDFD96CF47B0}"/>
          </ac:spMkLst>
        </pc:spChg>
        <pc:spChg chg="add del">
          <ac:chgData name="Myrvag, Oda" userId="a8cbc5d5-a60f-469f-af81-81e559ffaccc" providerId="ADAL" clId="{81613F7F-5A23-4E29-8F93-D381433B8D2A}" dt="2022-05-09T12:36:47.854" v="23316" actId="478"/>
          <ac:spMkLst>
            <pc:docMk/>
            <pc:sldMk cId="3875458243" sldId="2147309171"/>
            <ac:spMk id="16" creationId="{E5F8C42C-E7B9-4029-931F-C7E1AB72A7F7}"/>
          </ac:spMkLst>
        </pc:spChg>
        <pc:spChg chg="add mod">
          <ac:chgData name="Myrvag, Oda" userId="a8cbc5d5-a60f-469f-af81-81e559ffaccc" providerId="ADAL" clId="{81613F7F-5A23-4E29-8F93-D381433B8D2A}" dt="2022-05-06T20:57:43.603" v="14177" actId="14100"/>
          <ac:spMkLst>
            <pc:docMk/>
            <pc:sldMk cId="3875458243" sldId="2147309171"/>
            <ac:spMk id="17" creationId="{2BE1C12F-E477-4C6D-9542-ECC8442B8901}"/>
          </ac:spMkLst>
        </pc:spChg>
        <pc:spChg chg="add mod">
          <ac:chgData name="Myrvag, Oda" userId="a8cbc5d5-a60f-469f-af81-81e559ffaccc" providerId="ADAL" clId="{81613F7F-5A23-4E29-8F93-D381433B8D2A}" dt="2022-05-06T17:06:53.587" v="10851"/>
          <ac:spMkLst>
            <pc:docMk/>
            <pc:sldMk cId="3875458243" sldId="2147309171"/>
            <ac:spMk id="18" creationId="{E8A051A5-33D8-463D-AF17-966FB96BFE66}"/>
          </ac:spMkLst>
        </pc:spChg>
        <pc:spChg chg="add del mod">
          <ac:chgData name="Myrvag, Oda" userId="a8cbc5d5-a60f-469f-af81-81e559ffaccc" providerId="ADAL" clId="{81613F7F-5A23-4E29-8F93-D381433B8D2A}" dt="2022-05-09T12:43:24.918" v="23365" actId="478"/>
          <ac:spMkLst>
            <pc:docMk/>
            <pc:sldMk cId="3875458243" sldId="2147309171"/>
            <ac:spMk id="20" creationId="{7C8AA404-1545-4DC3-8463-E58A155F88BE}"/>
          </ac:spMkLst>
        </pc:spChg>
        <pc:spChg chg="add del">
          <ac:chgData name="Myrvag, Oda" userId="a8cbc5d5-a60f-469f-af81-81e559ffaccc" providerId="ADAL" clId="{81613F7F-5A23-4E29-8F93-D381433B8D2A}" dt="2022-05-09T12:36:53.747" v="23319" actId="478"/>
          <ac:spMkLst>
            <pc:docMk/>
            <pc:sldMk cId="3875458243" sldId="2147309171"/>
            <ac:spMk id="21" creationId="{9D25ECCA-D42C-4428-B2BB-9C1025B8EE4F}"/>
          </ac:spMkLst>
        </pc:spChg>
        <pc:spChg chg="mod">
          <ac:chgData name="Myrvag, Oda" userId="a8cbc5d5-a60f-469f-af81-81e559ffaccc" providerId="ADAL" clId="{81613F7F-5A23-4E29-8F93-D381433B8D2A}" dt="2022-05-06T17:05:39.289" v="10688" actId="14100"/>
          <ac:spMkLst>
            <pc:docMk/>
            <pc:sldMk cId="3875458243" sldId="2147309171"/>
            <ac:spMk id="22" creationId="{0755B4A8-2215-478F-864E-8BDAD7E454DC}"/>
          </ac:spMkLst>
        </pc:spChg>
        <pc:spChg chg="mod">
          <ac:chgData name="Myrvag, Oda" userId="a8cbc5d5-a60f-469f-af81-81e559ffaccc" providerId="ADAL" clId="{81613F7F-5A23-4E29-8F93-D381433B8D2A}" dt="2022-05-06T16:44:22.631" v="8985"/>
          <ac:spMkLst>
            <pc:docMk/>
            <pc:sldMk cId="3875458243" sldId="2147309171"/>
            <ac:spMk id="26" creationId="{ED6677F5-520C-4463-987D-9A62AEC94A32}"/>
          </ac:spMkLst>
        </pc:spChg>
        <pc:grpChg chg="mod">
          <ac:chgData name="Myrvag, Oda" userId="a8cbc5d5-a60f-469f-af81-81e559ffaccc" providerId="ADAL" clId="{81613F7F-5A23-4E29-8F93-D381433B8D2A}" dt="2022-05-06T16:44:22.631" v="8985"/>
          <ac:grpSpMkLst>
            <pc:docMk/>
            <pc:sldMk cId="3875458243" sldId="2147309171"/>
            <ac:grpSpMk id="1" creationId="{00000000-0000-0000-0000-000000000000}"/>
          </ac:grpSpMkLst>
        </pc:grpChg>
        <pc:graphicFrameChg chg="mod">
          <ac:chgData name="Myrvag, Oda" userId="a8cbc5d5-a60f-469f-af81-81e559ffaccc" providerId="ADAL" clId="{81613F7F-5A23-4E29-8F93-D381433B8D2A}" dt="2022-05-06T16:44:22.631" v="8985"/>
          <ac:graphicFrameMkLst>
            <pc:docMk/>
            <pc:sldMk cId="3875458243" sldId="2147309171"/>
            <ac:graphicFrameMk id="4" creationId="{0713B360-6832-4579-9F39-37C46A2B0E68}"/>
          </ac:graphicFrameMkLst>
        </pc:graphicFrameChg>
        <pc:picChg chg="add mod">
          <ac:chgData name="Myrvag, Oda" userId="a8cbc5d5-a60f-469f-af81-81e559ffaccc" providerId="ADAL" clId="{81613F7F-5A23-4E29-8F93-D381433B8D2A}" dt="2022-05-09T12:45:33.254" v="23376" actId="1076"/>
          <ac:picMkLst>
            <pc:docMk/>
            <pc:sldMk cId="3875458243" sldId="2147309171"/>
            <ac:picMk id="9" creationId="{713D4C77-D325-47BB-8B16-189281252B1D}"/>
          </ac:picMkLst>
        </pc:picChg>
        <pc:picChg chg="del mod">
          <ac:chgData name="Myrvag, Oda" userId="a8cbc5d5-a60f-469f-af81-81e559ffaccc" providerId="ADAL" clId="{81613F7F-5A23-4E29-8F93-D381433B8D2A}" dt="2022-05-09T12:36:40.911" v="23313" actId="478"/>
          <ac:picMkLst>
            <pc:docMk/>
            <pc:sldMk cId="3875458243" sldId="2147309171"/>
            <ac:picMk id="19" creationId="{2F665A5B-67BD-483F-9E23-A81AD80D67FE}"/>
          </ac:picMkLst>
        </pc:picChg>
      </pc:sldChg>
      <pc:sldChg chg="new add del">
        <pc:chgData name="Myrvag, Oda" userId="a8cbc5d5-a60f-469f-af81-81e559ffaccc" providerId="ADAL" clId="{81613F7F-5A23-4E29-8F93-D381433B8D2A}" dt="2022-05-06T17:07:20.040" v="10852" actId="47"/>
        <pc:sldMkLst>
          <pc:docMk/>
          <pc:sldMk cId="4147686796" sldId="2147309172"/>
        </pc:sldMkLst>
      </pc:sldChg>
      <pc:sldChg chg="addSp modSp new add del mod">
        <pc:chgData name="Myrvag, Oda" userId="a8cbc5d5-a60f-469f-af81-81e559ffaccc" providerId="ADAL" clId="{81613F7F-5A23-4E29-8F93-D381433B8D2A}" dt="2022-05-06T16:50:25.478" v="9236" actId="2696"/>
        <pc:sldMkLst>
          <pc:docMk/>
          <pc:sldMk cId="647927381" sldId="2147309173"/>
        </pc:sldMkLst>
        <pc:spChg chg="mod">
          <ac:chgData name="Myrvag, Oda" userId="a8cbc5d5-a60f-469f-af81-81e559ffaccc" providerId="ADAL" clId="{81613F7F-5A23-4E29-8F93-D381433B8D2A}" dt="2022-05-06T16:50:10.411" v="9220" actId="948"/>
          <ac:spMkLst>
            <pc:docMk/>
            <pc:sldMk cId="647927381" sldId="2147309173"/>
            <ac:spMk id="2" creationId="{5621F8EC-A65E-48A8-A186-1BD7D48FF5BB}"/>
          </ac:spMkLst>
        </pc:spChg>
        <pc:graphicFrameChg chg="add mod ord modVis">
          <ac:chgData name="Myrvag, Oda" userId="a8cbc5d5-a60f-469f-af81-81e559ffaccc" providerId="ADAL" clId="{81613F7F-5A23-4E29-8F93-D381433B8D2A}" dt="2022-05-06T16:50:10.445" v="9235"/>
          <ac:graphicFrameMkLst>
            <pc:docMk/>
            <pc:sldMk cId="647927381" sldId="2147309173"/>
            <ac:graphicFrameMk id="4" creationId="{6665571E-56B0-454B-BC10-30367DE37402}"/>
          </ac:graphicFrameMkLst>
        </pc:graphicFrameChg>
      </pc:sldChg>
      <pc:sldChg chg="new add del">
        <pc:chgData name="Myrvag, Oda" userId="a8cbc5d5-a60f-469f-af81-81e559ffaccc" providerId="ADAL" clId="{81613F7F-5A23-4E29-8F93-D381433B8D2A}" dt="2022-05-06T20:45:40.323" v="13724" actId="47"/>
        <pc:sldMkLst>
          <pc:docMk/>
          <pc:sldMk cId="2164531066" sldId="2147309173"/>
        </pc:sldMkLst>
      </pc:sldChg>
      <pc:sldChg chg="addSp delSp modSp add mod ord modClrScheme chgLayout">
        <pc:chgData name="Myrvag, Oda" userId="a8cbc5d5-a60f-469f-af81-81e559ffaccc" providerId="ADAL" clId="{81613F7F-5A23-4E29-8F93-D381433B8D2A}" dt="2022-05-10T07:33:42.432" v="26492" actId="20577"/>
        <pc:sldMkLst>
          <pc:docMk/>
          <pc:sldMk cId="2415200178" sldId="2147309174"/>
        </pc:sldMkLst>
        <pc:spChg chg="add mod ord">
          <ac:chgData name="Myrvag, Oda" userId="a8cbc5d5-a60f-469f-af81-81e559ffaccc" providerId="ADAL" clId="{81613F7F-5A23-4E29-8F93-D381433B8D2A}" dt="2022-05-06T16:51:44.423" v="9269" actId="948"/>
          <ac:spMkLst>
            <pc:docMk/>
            <pc:sldMk cId="2415200178" sldId="2147309174"/>
            <ac:spMk id="2" creationId="{20411AF7-242A-46CF-9593-1F4E07B6D495}"/>
          </ac:spMkLst>
        </pc:spChg>
        <pc:spChg chg="add mod ord">
          <ac:chgData name="Myrvag, Oda" userId="a8cbc5d5-a60f-469f-af81-81e559ffaccc" providerId="ADAL" clId="{81613F7F-5A23-4E29-8F93-D381433B8D2A}" dt="2022-05-10T07:33:42.432" v="26492" actId="20577"/>
          <ac:spMkLst>
            <pc:docMk/>
            <pc:sldMk cId="2415200178" sldId="2147309174"/>
            <ac:spMk id="3" creationId="{C0162C7C-6CAF-46F1-B4E4-AC7FC738A325}"/>
          </ac:spMkLst>
        </pc:spChg>
        <pc:spChg chg="del mod">
          <ac:chgData name="Myrvag, Oda" userId="a8cbc5d5-a60f-469f-af81-81e559ffaccc" providerId="ADAL" clId="{81613F7F-5A23-4E29-8F93-D381433B8D2A}" dt="2022-05-06T16:51:26.228" v="9254" actId="478"/>
          <ac:spMkLst>
            <pc:docMk/>
            <pc:sldMk cId="2415200178" sldId="2147309174"/>
            <ac:spMk id="5" creationId="{6D1DD5A1-4DE5-429C-A09D-6777DDAC2252}"/>
          </ac:spMkLst>
        </pc:spChg>
        <pc:spChg chg="add del mod ord">
          <ac:chgData name="Myrvag, Oda" userId="a8cbc5d5-a60f-469f-af81-81e559ffaccc" providerId="ADAL" clId="{81613F7F-5A23-4E29-8F93-D381433B8D2A}" dt="2022-05-06T20:55:41.697" v="13947" actId="478"/>
          <ac:spMkLst>
            <pc:docMk/>
            <pc:sldMk cId="2415200178" sldId="2147309174"/>
            <ac:spMk id="6" creationId="{BFD3DEDE-CAAD-42BB-ACB4-5FD2D120D39B}"/>
          </ac:spMkLst>
        </pc:spChg>
        <pc:spChg chg="del mod">
          <ac:chgData name="Myrvag, Oda" userId="a8cbc5d5-a60f-469f-af81-81e559ffaccc" providerId="ADAL" clId="{81613F7F-5A23-4E29-8F93-D381433B8D2A}" dt="2022-05-06T16:51:26.228" v="9254" actId="478"/>
          <ac:spMkLst>
            <pc:docMk/>
            <pc:sldMk cId="2415200178" sldId="2147309174"/>
            <ac:spMk id="7" creationId="{F8527C33-0580-43A1-869B-461B68DC2AAA}"/>
          </ac:spMkLst>
        </pc:spChg>
        <pc:spChg chg="del mod">
          <ac:chgData name="Myrvag, Oda" userId="a8cbc5d5-a60f-469f-af81-81e559ffaccc" providerId="ADAL" clId="{81613F7F-5A23-4E29-8F93-D381433B8D2A}" dt="2022-05-06T16:51:26.228" v="9254" actId="478"/>
          <ac:spMkLst>
            <pc:docMk/>
            <pc:sldMk cId="2415200178" sldId="2147309174"/>
            <ac:spMk id="8" creationId="{81AF0185-6617-442A-9C9B-48221C870153}"/>
          </ac:spMkLst>
        </pc:spChg>
        <pc:spChg chg="del mod">
          <ac:chgData name="Myrvag, Oda" userId="a8cbc5d5-a60f-469f-af81-81e559ffaccc" providerId="ADAL" clId="{81613F7F-5A23-4E29-8F93-D381433B8D2A}" dt="2022-05-06T16:51:26.228" v="9254" actId="478"/>
          <ac:spMkLst>
            <pc:docMk/>
            <pc:sldMk cId="2415200178" sldId="2147309174"/>
            <ac:spMk id="10" creationId="{A5B67B4C-07CC-4FC2-B350-46A63A6ACA6D}"/>
          </ac:spMkLst>
        </pc:spChg>
        <pc:spChg chg="del mod">
          <ac:chgData name="Myrvag, Oda" userId="a8cbc5d5-a60f-469f-af81-81e559ffaccc" providerId="ADAL" clId="{81613F7F-5A23-4E29-8F93-D381433B8D2A}" dt="2022-05-06T16:51:26.228" v="9254" actId="478"/>
          <ac:spMkLst>
            <pc:docMk/>
            <pc:sldMk cId="2415200178" sldId="2147309174"/>
            <ac:spMk id="11" creationId="{D4061D49-3770-4E9E-A5D3-877C04449426}"/>
          </ac:spMkLst>
        </pc:spChg>
        <pc:spChg chg="del mod">
          <ac:chgData name="Myrvag, Oda" userId="a8cbc5d5-a60f-469f-af81-81e559ffaccc" providerId="ADAL" clId="{81613F7F-5A23-4E29-8F93-D381433B8D2A}" dt="2022-05-06T16:51:26.228" v="9254" actId="478"/>
          <ac:spMkLst>
            <pc:docMk/>
            <pc:sldMk cId="2415200178" sldId="2147309174"/>
            <ac:spMk id="12" creationId="{F4658979-7B79-4F9D-9605-BB77F332F10A}"/>
          </ac:spMkLst>
        </pc:spChg>
        <pc:spChg chg="del mod">
          <ac:chgData name="Myrvag, Oda" userId="a8cbc5d5-a60f-469f-af81-81e559ffaccc" providerId="ADAL" clId="{81613F7F-5A23-4E29-8F93-D381433B8D2A}" dt="2022-05-06T16:51:26.228" v="9254" actId="478"/>
          <ac:spMkLst>
            <pc:docMk/>
            <pc:sldMk cId="2415200178" sldId="2147309174"/>
            <ac:spMk id="20" creationId="{7C8AA404-1545-4DC3-8463-E58A155F88BE}"/>
          </ac:spMkLst>
        </pc:spChg>
        <pc:spChg chg="del mod">
          <ac:chgData name="Myrvag, Oda" userId="a8cbc5d5-a60f-469f-af81-81e559ffaccc" providerId="ADAL" clId="{81613F7F-5A23-4E29-8F93-D381433B8D2A}" dt="2022-05-06T16:51:26.228" v="9254" actId="478"/>
          <ac:spMkLst>
            <pc:docMk/>
            <pc:sldMk cId="2415200178" sldId="2147309174"/>
            <ac:spMk id="22" creationId="{0755B4A8-2215-478F-864E-8BDAD7E454DC}"/>
          </ac:spMkLst>
        </pc:spChg>
        <pc:spChg chg="del mod">
          <ac:chgData name="Myrvag, Oda" userId="a8cbc5d5-a60f-469f-af81-81e559ffaccc" providerId="ADAL" clId="{81613F7F-5A23-4E29-8F93-D381433B8D2A}" dt="2022-05-06T16:51:40.963" v="9257" actId="478"/>
          <ac:spMkLst>
            <pc:docMk/>
            <pc:sldMk cId="2415200178" sldId="2147309174"/>
            <ac:spMk id="26" creationId="{ED6677F5-520C-4463-987D-9A62AEC94A32}"/>
          </ac:spMkLst>
        </pc:spChg>
        <pc:grpChg chg="mod">
          <ac:chgData name="Myrvag, Oda" userId="a8cbc5d5-a60f-469f-af81-81e559ffaccc" providerId="ADAL" clId="{81613F7F-5A23-4E29-8F93-D381433B8D2A}" dt="2022-05-06T16:51:01.685" v="9242"/>
          <ac:grpSpMkLst>
            <pc:docMk/>
            <pc:sldMk cId="2415200178" sldId="2147309174"/>
            <ac:grpSpMk id="1" creationId="{00000000-0000-0000-0000-000000000000}"/>
          </ac:grpSpMkLst>
        </pc:grpChg>
        <pc:graphicFrameChg chg="mod">
          <ac:chgData name="Myrvag, Oda" userId="a8cbc5d5-a60f-469f-af81-81e559ffaccc" providerId="ADAL" clId="{81613F7F-5A23-4E29-8F93-D381433B8D2A}" dt="2022-05-06T16:51:44.428" v="9271"/>
          <ac:graphicFrameMkLst>
            <pc:docMk/>
            <pc:sldMk cId="2415200178" sldId="2147309174"/>
            <ac:graphicFrameMk id="4" creationId="{0713B360-6832-4579-9F39-37C46A2B0E68}"/>
          </ac:graphicFrameMkLst>
        </pc:graphicFrameChg>
        <pc:picChg chg="del mod">
          <ac:chgData name="Myrvag, Oda" userId="a8cbc5d5-a60f-469f-af81-81e559ffaccc" providerId="ADAL" clId="{81613F7F-5A23-4E29-8F93-D381433B8D2A}" dt="2022-05-06T16:51:26.228" v="9254" actId="478"/>
          <ac:picMkLst>
            <pc:docMk/>
            <pc:sldMk cId="2415200178" sldId="2147309174"/>
            <ac:picMk id="19" creationId="{2F665A5B-67BD-483F-9E23-A81AD80D67FE}"/>
          </ac:picMkLst>
        </pc:picChg>
      </pc:sldChg>
      <pc:sldChg chg="addSp delSp modSp new add mod chgLayout modNotesTx">
        <pc:chgData name="Myrvag, Oda" userId="a8cbc5d5-a60f-469f-af81-81e559ffaccc" providerId="ADAL" clId="{81613F7F-5A23-4E29-8F93-D381433B8D2A}" dt="2022-05-10T07:27:11.633" v="26126" actId="20577"/>
        <pc:sldMkLst>
          <pc:docMk/>
          <pc:sldMk cId="1788021989" sldId="2147309175"/>
        </pc:sldMkLst>
        <pc:spChg chg="mod ord">
          <ac:chgData name="Myrvag, Oda" userId="a8cbc5d5-a60f-469f-af81-81e559ffaccc" providerId="ADAL" clId="{81613F7F-5A23-4E29-8F93-D381433B8D2A}" dt="2022-05-07T07:20:26.057" v="20269" actId="948"/>
          <ac:spMkLst>
            <pc:docMk/>
            <pc:sldMk cId="1788021989" sldId="2147309175"/>
            <ac:spMk id="2" creationId="{39FD54F4-88AF-4BEC-A38F-3C859C193481}"/>
          </ac:spMkLst>
        </pc:spChg>
        <pc:spChg chg="del mod">
          <ac:chgData name="Myrvag, Oda" userId="a8cbc5d5-a60f-469f-af81-81e559ffaccc" providerId="ADAL" clId="{81613F7F-5A23-4E29-8F93-D381433B8D2A}" dt="2022-05-06T20:46:33.389" v="13726" actId="478"/>
          <ac:spMkLst>
            <pc:docMk/>
            <pc:sldMk cId="1788021989" sldId="2147309175"/>
            <ac:spMk id="3" creationId="{6943F5FC-78C2-4B99-BF0E-4F3E0993A1E1}"/>
          </ac:spMkLst>
        </pc:spChg>
        <pc:spChg chg="add del mod modVis">
          <ac:chgData name="Myrvag, Oda" userId="a8cbc5d5-a60f-469f-af81-81e559ffaccc" providerId="ADAL" clId="{81613F7F-5A23-4E29-8F93-D381433B8D2A}" dt="2022-05-06T21:35:38.338" v="17834"/>
          <ac:spMkLst>
            <pc:docMk/>
            <pc:sldMk cId="1788021989" sldId="2147309175"/>
            <ac:spMk id="3" creationId="{A8B679A4-1118-4AAE-B1AF-14286BE8D719}"/>
          </ac:spMkLst>
        </pc:spChg>
        <pc:spChg chg="add mod ord">
          <ac:chgData name="Myrvag, Oda" userId="a8cbc5d5-a60f-469f-af81-81e559ffaccc" providerId="ADAL" clId="{81613F7F-5A23-4E29-8F93-D381433B8D2A}" dt="2022-05-10T07:27:11.633" v="26126" actId="20577"/>
          <ac:spMkLst>
            <pc:docMk/>
            <pc:sldMk cId="1788021989" sldId="2147309175"/>
            <ac:spMk id="3" creationId="{BD53F892-4701-41C1-B231-C71535D14A98}"/>
          </ac:spMkLst>
        </pc:spChg>
        <pc:spChg chg="add del mod modVis">
          <ac:chgData name="Myrvag, Oda" userId="a8cbc5d5-a60f-469f-af81-81e559ffaccc" providerId="ADAL" clId="{81613F7F-5A23-4E29-8F93-D381433B8D2A}" dt="2022-05-07T07:20:25.526" v="20266"/>
          <ac:spMkLst>
            <pc:docMk/>
            <pc:sldMk cId="1788021989" sldId="2147309175"/>
            <ac:spMk id="4" creationId="{2446E242-6C35-4011-95A8-9F92414861D3}"/>
          </ac:spMkLst>
        </pc:spChg>
        <pc:spChg chg="add del mod modVis">
          <ac:chgData name="Myrvag, Oda" userId="a8cbc5d5-a60f-469f-af81-81e559ffaccc" providerId="ADAL" clId="{81613F7F-5A23-4E29-8F93-D381433B8D2A}" dt="2022-05-06T20:44:19.946" v="13485"/>
          <ac:spMkLst>
            <pc:docMk/>
            <pc:sldMk cId="1788021989" sldId="2147309175"/>
            <ac:spMk id="4" creationId="{B5523A56-18BD-4DF4-A410-E4D8520E7A81}"/>
          </ac:spMkLst>
        </pc:spChg>
        <pc:spChg chg="add del mod ord">
          <ac:chgData name="Myrvag, Oda" userId="a8cbc5d5-a60f-469f-af81-81e559ffaccc" providerId="ADAL" clId="{81613F7F-5A23-4E29-8F93-D381433B8D2A}" dt="2022-05-06T21:38:31.499" v="17887" actId="478"/>
          <ac:spMkLst>
            <pc:docMk/>
            <pc:sldMk cId="1788021989" sldId="2147309175"/>
            <ac:spMk id="4" creationId="{DC1FE587-0E3B-4C73-BC4B-86A6464B6B4E}"/>
          </ac:spMkLst>
        </pc:spChg>
        <pc:spChg chg="add del mod">
          <ac:chgData name="Myrvag, Oda" userId="a8cbc5d5-a60f-469f-af81-81e559ffaccc" providerId="ADAL" clId="{81613F7F-5A23-4E29-8F93-D381433B8D2A}" dt="2022-05-06T21:47:52.546" v="18372" actId="478"/>
          <ac:spMkLst>
            <pc:docMk/>
            <pc:sldMk cId="1788021989" sldId="2147309175"/>
            <ac:spMk id="6" creationId="{13F5BADB-D5E1-48E5-90E9-DFBF7D28A4D3}"/>
          </ac:spMkLst>
        </pc:spChg>
        <pc:spChg chg="add del mod modVis">
          <ac:chgData name="Myrvag, Oda" userId="a8cbc5d5-a60f-469f-af81-81e559ffaccc" providerId="ADAL" clId="{81613F7F-5A23-4E29-8F93-D381433B8D2A}" dt="2022-05-06T20:44:21.124" v="13545"/>
          <ac:spMkLst>
            <pc:docMk/>
            <pc:sldMk cId="1788021989" sldId="2147309175"/>
            <ac:spMk id="6" creationId="{A54694EE-E221-42B0-96F8-4A829A861F02}"/>
          </ac:spMkLst>
        </pc:spChg>
        <pc:spChg chg="add del mod ord">
          <ac:chgData name="Myrvag, Oda" userId="a8cbc5d5-a60f-469f-af81-81e559ffaccc" providerId="ADAL" clId="{81613F7F-5A23-4E29-8F93-D381433B8D2A}" dt="2022-05-06T21:47:42.122" v="18368" actId="478"/>
          <ac:spMkLst>
            <pc:docMk/>
            <pc:sldMk cId="1788021989" sldId="2147309175"/>
            <ac:spMk id="7" creationId="{02C459BA-BBDF-4BF7-AF11-1AA0A7C586B5}"/>
          </ac:spMkLst>
        </pc:spChg>
        <pc:spChg chg="add del mod modVis">
          <ac:chgData name="Myrvag, Oda" userId="a8cbc5d5-a60f-469f-af81-81e559ffaccc" providerId="ADAL" clId="{81613F7F-5A23-4E29-8F93-D381433B8D2A}" dt="2022-05-06T20:44:29.400" v="13634"/>
          <ac:spMkLst>
            <pc:docMk/>
            <pc:sldMk cId="1788021989" sldId="2147309175"/>
            <ac:spMk id="7" creationId="{CFFC2D9C-7A57-4545-8327-EF9A3284C9F7}"/>
          </ac:spMkLst>
        </pc:spChg>
        <pc:spChg chg="add del mod">
          <ac:chgData name="Myrvag, Oda" userId="a8cbc5d5-a60f-469f-af81-81e559ffaccc" providerId="ADAL" clId="{81613F7F-5A23-4E29-8F93-D381433B8D2A}" dt="2022-05-07T07:23:39.174" v="20759" actId="478"/>
          <ac:spMkLst>
            <pc:docMk/>
            <pc:sldMk cId="1788021989" sldId="2147309175"/>
            <ac:spMk id="8" creationId="{0DB1110A-D3C3-40A8-AA55-8CD455EA897B}"/>
          </ac:spMkLst>
        </pc:spChg>
        <pc:spChg chg="add del mod modVis">
          <ac:chgData name="Myrvag, Oda" userId="a8cbc5d5-a60f-469f-af81-81e559ffaccc" providerId="ADAL" clId="{81613F7F-5A23-4E29-8F93-D381433B8D2A}" dt="2022-05-06T20:44:36.967" v="13678"/>
          <ac:spMkLst>
            <pc:docMk/>
            <pc:sldMk cId="1788021989" sldId="2147309175"/>
            <ac:spMk id="8" creationId="{8D7284D4-BA33-48D3-8C78-4E20D92DAC64}"/>
          </ac:spMkLst>
        </pc:spChg>
        <pc:spChg chg="add del mod">
          <ac:chgData name="Myrvag, Oda" userId="a8cbc5d5-a60f-469f-af81-81e559ffaccc" providerId="ADAL" clId="{81613F7F-5A23-4E29-8F93-D381433B8D2A}" dt="2022-05-06T21:10:48.597" v="14708" actId="478"/>
          <ac:spMkLst>
            <pc:docMk/>
            <pc:sldMk cId="1788021989" sldId="2147309175"/>
            <ac:spMk id="8" creationId="{C5AA24A4-7053-4AE6-8AA0-EB6E69509D49}"/>
          </ac:spMkLst>
        </pc:spChg>
        <pc:spChg chg="add del mod">
          <ac:chgData name="Myrvag, Oda" userId="a8cbc5d5-a60f-469f-af81-81e559ffaccc" providerId="ADAL" clId="{81613F7F-5A23-4E29-8F93-D381433B8D2A}" dt="2022-05-06T21:10:47.320" v="14707" actId="478"/>
          <ac:spMkLst>
            <pc:docMk/>
            <pc:sldMk cId="1788021989" sldId="2147309175"/>
            <ac:spMk id="9" creationId="{1EC9D298-F2F1-41B0-AC34-17F4EDBACC4D}"/>
          </ac:spMkLst>
        </pc:spChg>
        <pc:spChg chg="add del mod">
          <ac:chgData name="Myrvag, Oda" userId="a8cbc5d5-a60f-469f-af81-81e559ffaccc" providerId="ADAL" clId="{81613F7F-5A23-4E29-8F93-D381433B8D2A}" dt="2022-05-07T07:23:38.388" v="20758" actId="478"/>
          <ac:spMkLst>
            <pc:docMk/>
            <pc:sldMk cId="1788021989" sldId="2147309175"/>
            <ac:spMk id="9" creationId="{7C18E435-B6C5-4B3C-89AF-09ABF7D7D593}"/>
          </ac:spMkLst>
        </pc:spChg>
        <pc:spChg chg="add del mod modVis">
          <ac:chgData name="Myrvag, Oda" userId="a8cbc5d5-a60f-469f-af81-81e559ffaccc" providerId="ADAL" clId="{81613F7F-5A23-4E29-8F93-D381433B8D2A}" dt="2022-05-06T20:44:41.786" v="13721"/>
          <ac:spMkLst>
            <pc:docMk/>
            <pc:sldMk cId="1788021989" sldId="2147309175"/>
            <ac:spMk id="9" creationId="{B8972E8A-16E9-4723-90B2-1B0044C2342D}"/>
          </ac:spMkLst>
        </pc:spChg>
        <pc:spChg chg="add del mod">
          <ac:chgData name="Myrvag, Oda" userId="a8cbc5d5-a60f-469f-af81-81e559ffaccc" providerId="ADAL" clId="{81613F7F-5A23-4E29-8F93-D381433B8D2A}" dt="2022-05-06T21:31:23.230" v="17503" actId="478"/>
          <ac:spMkLst>
            <pc:docMk/>
            <pc:sldMk cId="1788021989" sldId="2147309175"/>
            <ac:spMk id="10" creationId="{9DA4014F-CE8C-400B-ADD4-398D65497711}"/>
          </ac:spMkLst>
        </pc:spChg>
        <pc:spChg chg="add del mod ord">
          <ac:chgData name="Myrvag, Oda" userId="a8cbc5d5-a60f-469f-af81-81e559ffaccc" providerId="ADAL" clId="{81613F7F-5A23-4E29-8F93-D381433B8D2A}" dt="2022-05-06T21:47:50.166" v="18371" actId="478"/>
          <ac:spMkLst>
            <pc:docMk/>
            <pc:sldMk cId="1788021989" sldId="2147309175"/>
            <ac:spMk id="11" creationId="{E426E824-B6D6-497E-89F8-B199EF13F52E}"/>
          </ac:spMkLst>
        </pc:spChg>
        <pc:spChg chg="add del mod ord">
          <ac:chgData name="Myrvag, Oda" userId="a8cbc5d5-a60f-469f-af81-81e559ffaccc" providerId="ADAL" clId="{81613F7F-5A23-4E29-8F93-D381433B8D2A}" dt="2022-05-06T21:47:43.813" v="18369" actId="478"/>
          <ac:spMkLst>
            <pc:docMk/>
            <pc:sldMk cId="1788021989" sldId="2147309175"/>
            <ac:spMk id="12" creationId="{5B1BCECD-7B85-4D0A-85BD-1FB14143B1DC}"/>
          </ac:spMkLst>
        </pc:spChg>
        <pc:spChg chg="add del mod ord">
          <ac:chgData name="Myrvag, Oda" userId="a8cbc5d5-a60f-469f-af81-81e559ffaccc" providerId="ADAL" clId="{81613F7F-5A23-4E29-8F93-D381433B8D2A}" dt="2022-05-06T21:40:44.383" v="17994" actId="478"/>
          <ac:spMkLst>
            <pc:docMk/>
            <pc:sldMk cId="1788021989" sldId="2147309175"/>
            <ac:spMk id="13" creationId="{A707A46B-8123-4C7F-8154-6A151B683FC5}"/>
          </ac:spMkLst>
        </pc:spChg>
        <pc:spChg chg="add del mod">
          <ac:chgData name="Myrvag, Oda" userId="a8cbc5d5-a60f-469f-af81-81e559ffaccc" providerId="ADAL" clId="{81613F7F-5A23-4E29-8F93-D381433B8D2A}" dt="2022-05-10T07:23:00.176" v="25302" actId="478"/>
          <ac:spMkLst>
            <pc:docMk/>
            <pc:sldMk cId="1788021989" sldId="2147309175"/>
            <ac:spMk id="13" creationId="{C7707508-63FE-4096-BFD6-1E3F51F7E807}"/>
          </ac:spMkLst>
        </pc:spChg>
        <pc:spChg chg="add del mod ord">
          <ac:chgData name="Myrvag, Oda" userId="a8cbc5d5-a60f-469f-af81-81e559ffaccc" providerId="ADAL" clId="{81613F7F-5A23-4E29-8F93-D381433B8D2A}" dt="2022-05-06T21:40:45.794" v="17995" actId="478"/>
          <ac:spMkLst>
            <pc:docMk/>
            <pc:sldMk cId="1788021989" sldId="2147309175"/>
            <ac:spMk id="14" creationId="{81CF1DB9-6ACA-4408-8847-FCD00B8BF0A6}"/>
          </ac:spMkLst>
        </pc:spChg>
        <pc:spChg chg="add del mod ord">
          <ac:chgData name="Myrvag, Oda" userId="a8cbc5d5-a60f-469f-af81-81e559ffaccc" providerId="ADAL" clId="{81613F7F-5A23-4E29-8F93-D381433B8D2A}" dt="2022-05-06T21:40:46.988" v="17996" actId="478"/>
          <ac:spMkLst>
            <pc:docMk/>
            <pc:sldMk cId="1788021989" sldId="2147309175"/>
            <ac:spMk id="15" creationId="{837B0D6F-1142-470B-A410-0D1CF9DC474D}"/>
          </ac:spMkLst>
        </pc:spChg>
        <pc:spChg chg="add del mod">
          <ac:chgData name="Myrvag, Oda" userId="a8cbc5d5-a60f-469f-af81-81e559ffaccc" providerId="ADAL" clId="{81613F7F-5A23-4E29-8F93-D381433B8D2A}" dt="2022-05-06T21:39:49.263" v="17910"/>
          <ac:spMkLst>
            <pc:docMk/>
            <pc:sldMk cId="1788021989" sldId="2147309175"/>
            <ac:spMk id="16" creationId="{B83B2F55-432E-4F1B-89DD-CAAA5B6E50C5}"/>
          </ac:spMkLst>
        </pc:spChg>
        <pc:spChg chg="add del mod">
          <ac:chgData name="Myrvag, Oda" userId="a8cbc5d5-a60f-469f-af81-81e559ffaccc" providerId="ADAL" clId="{81613F7F-5A23-4E29-8F93-D381433B8D2A}" dt="2022-05-06T21:47:48.267" v="18370" actId="478"/>
          <ac:spMkLst>
            <pc:docMk/>
            <pc:sldMk cId="1788021989" sldId="2147309175"/>
            <ac:spMk id="17" creationId="{B803F62E-E62A-470A-90E2-109FECEEB9C3}"/>
          </ac:spMkLst>
        </pc:spChg>
        <pc:spChg chg="add del mod">
          <ac:chgData name="Myrvag, Oda" userId="a8cbc5d5-a60f-469f-af81-81e559ffaccc" providerId="ADAL" clId="{81613F7F-5A23-4E29-8F93-D381433B8D2A}" dt="2022-05-06T21:42:06.913" v="18052" actId="478"/>
          <ac:spMkLst>
            <pc:docMk/>
            <pc:sldMk cId="1788021989" sldId="2147309175"/>
            <ac:spMk id="18" creationId="{F69C6D89-DA47-4E8B-9381-52F319713305}"/>
          </ac:spMkLst>
        </pc:spChg>
        <pc:spChg chg="add del mod">
          <ac:chgData name="Myrvag, Oda" userId="a8cbc5d5-a60f-469f-af81-81e559ffaccc" providerId="ADAL" clId="{81613F7F-5A23-4E29-8F93-D381433B8D2A}" dt="2022-05-06T21:50:05.428" v="18413" actId="478"/>
          <ac:spMkLst>
            <pc:docMk/>
            <pc:sldMk cId="1788021989" sldId="2147309175"/>
            <ac:spMk id="20" creationId="{E5EFCF13-02BA-4E8B-B7E0-9A34833B7C01}"/>
          </ac:spMkLst>
        </pc:spChg>
        <pc:spChg chg="add del mod">
          <ac:chgData name="Myrvag, Oda" userId="a8cbc5d5-a60f-469f-af81-81e559ffaccc" providerId="ADAL" clId="{81613F7F-5A23-4E29-8F93-D381433B8D2A}" dt="2022-05-06T21:50:07.037" v="18414" actId="478"/>
          <ac:spMkLst>
            <pc:docMk/>
            <pc:sldMk cId="1788021989" sldId="2147309175"/>
            <ac:spMk id="21" creationId="{B3D48A24-E0A6-42AF-8B3E-563DD0D3BDCD}"/>
          </ac:spMkLst>
        </pc:spChg>
        <pc:spChg chg="add del mod">
          <ac:chgData name="Myrvag, Oda" userId="a8cbc5d5-a60f-469f-af81-81e559ffaccc" providerId="ADAL" clId="{81613F7F-5A23-4E29-8F93-D381433B8D2A}" dt="2022-05-06T21:50:08.753" v="18415" actId="478"/>
          <ac:spMkLst>
            <pc:docMk/>
            <pc:sldMk cId="1788021989" sldId="2147309175"/>
            <ac:spMk id="22" creationId="{D0E0A589-E2B9-4AFB-8F6D-B568418EED5A}"/>
          </ac:spMkLst>
        </pc:spChg>
        <pc:spChg chg="add del mod">
          <ac:chgData name="Myrvag, Oda" userId="a8cbc5d5-a60f-469f-af81-81e559ffaccc" providerId="ADAL" clId="{81613F7F-5A23-4E29-8F93-D381433B8D2A}" dt="2022-05-07T07:23:37.628" v="20757" actId="478"/>
          <ac:spMkLst>
            <pc:docMk/>
            <pc:sldMk cId="1788021989" sldId="2147309175"/>
            <ac:spMk id="23" creationId="{CE6849B5-B358-4C3F-9BAC-8F6616061E12}"/>
          </ac:spMkLst>
        </pc:spChg>
        <pc:spChg chg="add del mod">
          <ac:chgData name="Myrvag, Oda" userId="a8cbc5d5-a60f-469f-af81-81e559ffaccc" providerId="ADAL" clId="{81613F7F-5A23-4E29-8F93-D381433B8D2A}" dt="2022-05-07T07:14:59.354" v="20070" actId="478"/>
          <ac:spMkLst>
            <pc:docMk/>
            <pc:sldMk cId="1788021989" sldId="2147309175"/>
            <ac:spMk id="24" creationId="{62DDAFA0-9C37-4EE9-BD0E-781FED88C16A}"/>
          </ac:spMkLst>
        </pc:spChg>
        <pc:spChg chg="add del mod">
          <ac:chgData name="Myrvag, Oda" userId="a8cbc5d5-a60f-469f-af81-81e559ffaccc" providerId="ADAL" clId="{81613F7F-5A23-4E29-8F93-D381433B8D2A}" dt="2022-05-07T07:17:19.264" v="20187" actId="478"/>
          <ac:spMkLst>
            <pc:docMk/>
            <pc:sldMk cId="1788021989" sldId="2147309175"/>
            <ac:spMk id="25" creationId="{DF60E165-444B-4361-BCFA-63E88288E0AC}"/>
          </ac:spMkLst>
        </pc:spChg>
        <pc:spChg chg="add del mod modVis">
          <ac:chgData name="Myrvag, Oda" userId="a8cbc5d5-a60f-469f-af81-81e559ffaccc" providerId="ADAL" clId="{81613F7F-5A23-4E29-8F93-D381433B8D2A}" dt="2022-05-06T21:47:14.051" v="18290"/>
          <ac:spMkLst>
            <pc:docMk/>
            <pc:sldMk cId="1788021989" sldId="2147309175"/>
            <ac:spMk id="26" creationId="{D68E0999-1B12-4043-ACE5-64A65EC8946A}"/>
          </ac:spMkLst>
        </pc:spChg>
        <pc:spChg chg="add del mod">
          <ac:chgData name="Myrvag, Oda" userId="a8cbc5d5-a60f-469f-af81-81e559ffaccc" providerId="ADAL" clId="{81613F7F-5A23-4E29-8F93-D381433B8D2A}" dt="2022-05-07T07:15:28.149" v="20137" actId="478"/>
          <ac:spMkLst>
            <pc:docMk/>
            <pc:sldMk cId="1788021989" sldId="2147309175"/>
            <ac:spMk id="27" creationId="{51A8A29A-0691-427B-9458-F1542442AB58}"/>
          </ac:spMkLst>
        </pc:spChg>
        <pc:graphicFrameChg chg="add mod ord modVis">
          <ac:chgData name="Myrvag, Oda" userId="a8cbc5d5-a60f-469f-af81-81e559ffaccc" providerId="ADAL" clId="{81613F7F-5A23-4E29-8F93-D381433B8D2A}" dt="2022-05-07T07:20:26.065" v="20271"/>
          <ac:graphicFrameMkLst>
            <pc:docMk/>
            <pc:sldMk cId="1788021989" sldId="2147309175"/>
            <ac:graphicFrameMk id="5" creationId="{94666F28-E1F0-4AC7-B0E0-E3B90D411252}"/>
          </ac:graphicFrameMkLst>
        </pc:graphicFrameChg>
        <pc:picChg chg="add mod modCrop">
          <ac:chgData name="Myrvag, Oda" userId="a8cbc5d5-a60f-469f-af81-81e559ffaccc" providerId="ADAL" clId="{81613F7F-5A23-4E29-8F93-D381433B8D2A}" dt="2022-05-07T07:19:57.303" v="20221" actId="732"/>
          <ac:picMkLst>
            <pc:docMk/>
            <pc:sldMk cId="1788021989" sldId="2147309175"/>
            <ac:picMk id="10" creationId="{20540E0D-5259-41E4-B996-8BCACEDF3F67}"/>
          </ac:picMkLst>
        </pc:picChg>
        <pc:picChg chg="add del mod">
          <ac:chgData name="Myrvag, Oda" userId="a8cbc5d5-a60f-469f-af81-81e559ffaccc" providerId="ADAL" clId="{81613F7F-5A23-4E29-8F93-D381433B8D2A}" dt="2022-05-06T21:43:25.037" v="18063"/>
          <ac:picMkLst>
            <pc:docMk/>
            <pc:sldMk cId="1788021989" sldId="2147309175"/>
            <ac:picMk id="19" creationId="{063FF767-60A0-4C39-99DB-54998A520CDD}"/>
          </ac:picMkLst>
        </pc:picChg>
      </pc:sldChg>
      <pc:sldChg chg="new add del">
        <pc:chgData name="Myrvag, Oda" userId="a8cbc5d5-a60f-469f-af81-81e559ffaccc" providerId="ADAL" clId="{81613F7F-5A23-4E29-8F93-D381433B8D2A}" dt="2022-05-06T21:13:27.860" v="14846" actId="47"/>
        <pc:sldMkLst>
          <pc:docMk/>
          <pc:sldMk cId="1870544735" sldId="2147309176"/>
        </pc:sldMkLst>
      </pc:sldChg>
      <pc:sldChg chg="addSp delSp modSp add mod ord modNotesTx">
        <pc:chgData name="Myrvag, Oda" userId="a8cbc5d5-a60f-469f-af81-81e559ffaccc" providerId="ADAL" clId="{81613F7F-5A23-4E29-8F93-D381433B8D2A}" dt="2022-05-10T07:14:09.668" v="24418" actId="20577"/>
        <pc:sldMkLst>
          <pc:docMk/>
          <pc:sldMk cId="71136575" sldId="2147309177"/>
        </pc:sldMkLst>
        <pc:spChg chg="mod">
          <ac:chgData name="Myrvag, Oda" userId="a8cbc5d5-a60f-469f-af81-81e559ffaccc" providerId="ADAL" clId="{81613F7F-5A23-4E29-8F93-D381433B8D2A}" dt="2022-05-06T21:05:42.072" v="14553" actId="948"/>
          <ac:spMkLst>
            <pc:docMk/>
            <pc:sldMk cId="71136575" sldId="2147309177"/>
            <ac:spMk id="2" creationId="{699A74CF-01A7-4B20-9683-DE8A6968D439}"/>
          </ac:spMkLst>
        </pc:spChg>
        <pc:spChg chg="add del mod modVis">
          <ac:chgData name="Myrvag, Oda" userId="a8cbc5d5-a60f-469f-af81-81e559ffaccc" providerId="ADAL" clId="{81613F7F-5A23-4E29-8F93-D381433B8D2A}" dt="2022-05-06T21:05:37.373" v="14474"/>
          <ac:spMkLst>
            <pc:docMk/>
            <pc:sldMk cId="71136575" sldId="2147309177"/>
            <ac:spMk id="3" creationId="{8D1DC501-9DE3-4305-9632-9EF12658B6BC}"/>
          </ac:spMkLst>
        </pc:spChg>
        <pc:spChg chg="add del mod modVis">
          <ac:chgData name="Myrvag, Oda" userId="a8cbc5d5-a60f-469f-af81-81e559ffaccc" providerId="ADAL" clId="{81613F7F-5A23-4E29-8F93-D381433B8D2A}" dt="2022-05-06T21:05:37.992" v="14519"/>
          <ac:spMkLst>
            <pc:docMk/>
            <pc:sldMk cId="71136575" sldId="2147309177"/>
            <ac:spMk id="4" creationId="{027066D3-3051-46EE-B3D1-2F9B84E7EC07}"/>
          </ac:spMkLst>
        </pc:spChg>
        <pc:spChg chg="add del mod modVis">
          <ac:chgData name="Myrvag, Oda" userId="a8cbc5d5-a60f-469f-af81-81e559ffaccc" providerId="ADAL" clId="{81613F7F-5A23-4E29-8F93-D381433B8D2A}" dt="2022-05-06T21:05:42.171" v="14592"/>
          <ac:spMkLst>
            <pc:docMk/>
            <pc:sldMk cId="71136575" sldId="2147309177"/>
            <ac:spMk id="6" creationId="{9BBFEA8B-0CF4-4991-A4AA-5F3AF398C075}"/>
          </ac:spMkLst>
        </pc:spChg>
        <pc:spChg chg="add del mod">
          <ac:chgData name="Myrvag, Oda" userId="a8cbc5d5-a60f-469f-af81-81e559ffaccc" providerId="ADAL" clId="{81613F7F-5A23-4E29-8F93-D381433B8D2A}" dt="2022-05-07T06:54:39.636" v="19851" actId="478"/>
          <ac:spMkLst>
            <pc:docMk/>
            <pc:sldMk cId="71136575" sldId="2147309177"/>
            <ac:spMk id="7" creationId="{60DC6EE8-BCFF-41FA-8642-05991084F7CB}"/>
          </ac:spMkLst>
        </pc:spChg>
        <pc:spChg chg="del mod">
          <ac:chgData name="Myrvag, Oda" userId="a8cbc5d5-a60f-469f-af81-81e559ffaccc" providerId="ADAL" clId="{81613F7F-5A23-4E29-8F93-D381433B8D2A}" dt="2022-05-07T06:35:39.437" v="18515"/>
          <ac:spMkLst>
            <pc:docMk/>
            <pc:sldMk cId="71136575" sldId="2147309177"/>
            <ac:spMk id="22" creationId="{14D1EA76-B1E1-4178-BDB2-CB02BAC0BFA0}"/>
          </ac:spMkLst>
        </pc:spChg>
        <pc:spChg chg="mod">
          <ac:chgData name="Myrvag, Oda" userId="a8cbc5d5-a60f-469f-af81-81e559ffaccc" providerId="ADAL" clId="{81613F7F-5A23-4E29-8F93-D381433B8D2A}" dt="2022-05-07T07:05:46.545" v="20025" actId="20577"/>
          <ac:spMkLst>
            <pc:docMk/>
            <pc:sldMk cId="71136575" sldId="2147309177"/>
            <ac:spMk id="23" creationId="{41F2AEFC-58F3-4ABF-BDCC-D75B324831AF}"/>
          </ac:spMkLst>
        </pc:spChg>
        <pc:spChg chg="del mod">
          <ac:chgData name="Myrvag, Oda" userId="a8cbc5d5-a60f-469f-af81-81e559ffaccc" providerId="ADAL" clId="{81613F7F-5A23-4E29-8F93-D381433B8D2A}" dt="2022-05-07T06:54:34.447" v="19848" actId="478"/>
          <ac:spMkLst>
            <pc:docMk/>
            <pc:sldMk cId="71136575" sldId="2147309177"/>
            <ac:spMk id="37" creationId="{BCE48509-6C96-4A28-A076-56F52A59C07D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39" creationId="{D29971AD-3E5F-4974-B989-1656D87F9EC9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40" creationId="{FE75815B-6A50-4DD3-93FF-ABCF073B0569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41" creationId="{5AA0BDA5-4C15-4731-AF48-FFE5E1467AA0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42" creationId="{0415C083-58C2-42DD-A027-D6A4BA1E9E96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43" creationId="{22FE558B-3EA0-4EDB-8909-552EFD74CDE5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44" creationId="{984D0B31-F13A-44F2-A33A-78904BF9067D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45" creationId="{96D27188-DA32-40B6-8298-19B2CA3CBC78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46" creationId="{63426A33-332A-4DEA-A628-DE012E90436A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47" creationId="{124181ED-3A4C-479B-BCE9-DE2BB2DBF057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48" creationId="{9C1C698A-6B3D-4BA3-ACF6-404950FE1916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49" creationId="{9D2E33DF-8A43-4410-A567-D12132B6C498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50" creationId="{0298376A-E248-47FB-ABF4-3A993575EE22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51" creationId="{FA63BC9E-57CD-417E-B9BA-3B90A4511A05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52" creationId="{993F58F7-3B8B-4F3B-AF9F-703282C80024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53" creationId="{E1368875-4E33-4906-A0F2-B17F5155098C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54" creationId="{000904CF-8FFF-4CF6-8E60-9EEFEEE98EE6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55" creationId="{6A48B454-FEE4-4744-BDB1-2A1A3D1714F0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56" creationId="{25AE0B3D-5264-4F44-9CB9-524BF8E0EA60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57" creationId="{623E6253-8CEA-459C-BB8C-EC22BE2FFCE2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58" creationId="{338F6459-F7C7-42D4-A2E0-BFA8862ED663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59" creationId="{751C103C-FC72-4E3F-BD9F-649EF1BB5E12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60" creationId="{97BE13A9-AB3F-4902-9048-3815248988D5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61" creationId="{A834C27B-B9E2-4C3A-8820-295E243FED5B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62" creationId="{A7B73BDA-5A05-44EF-BBB0-8DA16791D700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63" creationId="{5F3C1327-8230-4E3A-94A2-0BCB7AFCE002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64" creationId="{F7654CDB-8204-412C-8454-2A1F9CBFFC75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65" creationId="{67BF909A-8541-4171-981D-636B20E66DC2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66" creationId="{EFB9DC14-3E3F-4E8E-8BA3-B98AD687146B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67" creationId="{8BD2F321-D2A1-4B99-977F-B98628D6DDD3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68" creationId="{8DFF5700-2641-41A1-840A-C3A606CE334C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69" creationId="{AE79371F-C0A2-4E5E-8DE2-3938386CA0C9}"/>
          </ac:spMkLst>
        </pc:spChg>
        <pc:spChg chg="add del mod">
          <ac:chgData name="Myrvag, Oda" userId="a8cbc5d5-a60f-469f-af81-81e559ffaccc" providerId="ADAL" clId="{81613F7F-5A23-4E29-8F93-D381433B8D2A}" dt="2022-05-06T21:07:54.662" v="14688" actId="478"/>
          <ac:spMkLst>
            <pc:docMk/>
            <pc:sldMk cId="71136575" sldId="2147309177"/>
            <ac:spMk id="70" creationId="{36D74FAC-55AC-4E51-9BB7-B109FB648331}"/>
          </ac:spMkLst>
        </pc:spChg>
        <pc:spChg chg="add del mod">
          <ac:chgData name="Myrvag, Oda" userId="a8cbc5d5-a60f-469f-af81-81e559ffaccc" providerId="ADAL" clId="{81613F7F-5A23-4E29-8F93-D381433B8D2A}" dt="2022-05-06T21:08:05.194" v="14690" actId="478"/>
          <ac:spMkLst>
            <pc:docMk/>
            <pc:sldMk cId="71136575" sldId="2147309177"/>
            <ac:spMk id="71" creationId="{2A9AEBEE-C766-43DA-BB8D-CF7E30DAA9FF}"/>
          </ac:spMkLst>
        </pc:spChg>
        <pc:spChg chg="add 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71" creationId="{C07DA833-291C-486C-9DE1-8936795F5C79}"/>
          </ac:spMkLst>
        </pc:spChg>
        <pc:spChg chg="add mod">
          <ac:chgData name="Myrvag, Oda" userId="a8cbc5d5-a60f-469f-af81-81e559ffaccc" providerId="ADAL" clId="{81613F7F-5A23-4E29-8F93-D381433B8D2A}" dt="2022-05-07T07:27:31.497" v="21160" actId="14100"/>
          <ac:spMkLst>
            <pc:docMk/>
            <pc:sldMk cId="71136575" sldId="2147309177"/>
            <ac:spMk id="72" creationId="{F4ACD38F-B765-4578-B9D5-A0325DB9A6F1}"/>
          </ac:spMkLst>
        </pc:spChg>
        <pc:spChg chg="add mod">
          <ac:chgData name="Myrvag, Oda" userId="a8cbc5d5-a60f-469f-af81-81e559ffaccc" providerId="ADAL" clId="{81613F7F-5A23-4E29-8F93-D381433B8D2A}" dt="2022-05-07T07:26:45.188" v="21154" actId="1076"/>
          <ac:spMkLst>
            <pc:docMk/>
            <pc:sldMk cId="71136575" sldId="2147309177"/>
            <ac:spMk id="73" creationId="{B28DD4AD-3DBD-4CA7-9E92-3963A1CF4F3C}"/>
          </ac:spMkLst>
        </pc:spChg>
        <pc:spChg chg="del">
          <ac:chgData name="Myrvag, Oda" userId="a8cbc5d5-a60f-469f-af81-81e559ffaccc" providerId="ADAL" clId="{81613F7F-5A23-4E29-8F93-D381433B8D2A}" dt="2022-05-07T06:54:10.215" v="19840" actId="478"/>
          <ac:spMkLst>
            <pc:docMk/>
            <pc:sldMk cId="71136575" sldId="2147309177"/>
            <ac:spMk id="76" creationId="{630F921D-4735-4686-805F-7670972EDEBF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77" creationId="{6BF963B2-3519-4777-82A3-F20013005170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78" creationId="{9525DFA7-3F81-4393-BB7C-7FADFA448418}"/>
          </ac:spMkLst>
        </pc:spChg>
        <pc:spChg chg="del">
          <ac:chgData name="Myrvag, Oda" userId="a8cbc5d5-a60f-469f-af81-81e559ffaccc" providerId="ADAL" clId="{81613F7F-5A23-4E29-8F93-D381433B8D2A}" dt="2022-05-07T06:54:08.046" v="19838" actId="478"/>
          <ac:spMkLst>
            <pc:docMk/>
            <pc:sldMk cId="71136575" sldId="2147309177"/>
            <ac:spMk id="79" creationId="{2EB32785-D378-48BB-9947-CFAF009125C7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80" creationId="{806B4D43-8AB9-418A-840F-06CD216B20BF}"/>
          </ac:spMkLst>
        </pc:spChg>
        <pc:spChg chg="del mod">
          <ac:chgData name="Myrvag, Oda" userId="a8cbc5d5-a60f-469f-af81-81e559ffaccc" providerId="ADAL" clId="{81613F7F-5A23-4E29-8F93-D381433B8D2A}" dt="2022-05-07T06:54:12.733" v="19842" actId="478"/>
          <ac:spMkLst>
            <pc:docMk/>
            <pc:sldMk cId="71136575" sldId="2147309177"/>
            <ac:spMk id="81" creationId="{8E687119-D76A-4DC1-9A03-0AF7E44A5240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83" creationId="{72A233AC-12CF-4696-B099-C575F1DB1A7C}"/>
          </ac:spMkLst>
        </pc:spChg>
        <pc:spChg chg="mod">
          <ac:chgData name="Myrvag, Oda" userId="a8cbc5d5-a60f-469f-af81-81e559ffaccc" providerId="ADAL" clId="{81613F7F-5A23-4E29-8F93-D381433B8D2A}" dt="2022-05-07T06:55:35.652" v="19901" actId="1038"/>
          <ac:spMkLst>
            <pc:docMk/>
            <pc:sldMk cId="71136575" sldId="2147309177"/>
            <ac:spMk id="84" creationId="{76593E15-FFA6-4D79-87AD-F7AC4D4A45B3}"/>
          </ac:spMkLst>
        </pc:spChg>
        <pc:spChg chg="del">
          <ac:chgData name="Myrvag, Oda" userId="a8cbc5d5-a60f-469f-af81-81e559ffaccc" providerId="ADAL" clId="{81613F7F-5A23-4E29-8F93-D381433B8D2A}" dt="2022-05-07T06:54:08.693" v="19839" actId="478"/>
          <ac:spMkLst>
            <pc:docMk/>
            <pc:sldMk cId="71136575" sldId="2147309177"/>
            <ac:spMk id="85" creationId="{B2B56754-88C0-4973-8D8E-F7A65ED38345}"/>
          </ac:spMkLst>
        </pc:spChg>
        <pc:spChg chg="del mod">
          <ac:chgData name="Myrvag, Oda" userId="a8cbc5d5-a60f-469f-af81-81e559ffaccc" providerId="ADAL" clId="{81613F7F-5A23-4E29-8F93-D381433B8D2A}" dt="2022-05-06T21:08:56.308" v="14697" actId="478"/>
          <ac:spMkLst>
            <pc:docMk/>
            <pc:sldMk cId="71136575" sldId="2147309177"/>
            <ac:spMk id="90" creationId="{32580261-A350-4873-ABD8-D54C48BB2BDC}"/>
          </ac:spMkLst>
        </pc:spChg>
        <pc:grpChg chg="add mod">
          <ac:chgData name="Myrvag, Oda" userId="a8cbc5d5-a60f-469f-af81-81e559ffaccc" providerId="ADAL" clId="{81613F7F-5A23-4E29-8F93-D381433B8D2A}" dt="2022-05-07T07:41:23.291" v="22641" actId="1076"/>
          <ac:grpSpMkLst>
            <pc:docMk/>
            <pc:sldMk cId="71136575" sldId="2147309177"/>
            <ac:grpSpMk id="3" creationId="{583F0B4A-0A13-41E9-A50E-EACC9C7CB711}"/>
          </ac:grpSpMkLst>
        </pc:grpChg>
        <pc:grpChg chg="add mod">
          <ac:chgData name="Myrvag, Oda" userId="a8cbc5d5-a60f-469f-af81-81e559ffaccc" providerId="ADAL" clId="{81613F7F-5A23-4E29-8F93-D381433B8D2A}" dt="2022-05-07T06:55:35.652" v="19901" actId="1038"/>
          <ac:grpSpMkLst>
            <pc:docMk/>
            <pc:sldMk cId="71136575" sldId="2147309177"/>
            <ac:grpSpMk id="4" creationId="{B55ED0C4-7709-4BB1-BB38-AFBBE884075A}"/>
          </ac:grpSpMkLst>
        </pc:grpChg>
        <pc:grpChg chg="mod">
          <ac:chgData name="Myrvag, Oda" userId="a8cbc5d5-a60f-469f-af81-81e559ffaccc" providerId="ADAL" clId="{81613F7F-5A23-4E29-8F93-D381433B8D2A}" dt="2022-05-07T06:55:35.652" v="19901" actId="1038"/>
          <ac:grpSpMkLst>
            <pc:docMk/>
            <pc:sldMk cId="71136575" sldId="2147309177"/>
            <ac:grpSpMk id="38" creationId="{487E1BD9-C4D2-40E8-AB96-A2FE2D1E2D5D}"/>
          </ac:grpSpMkLst>
        </pc:grpChg>
        <pc:graphicFrameChg chg="mod">
          <ac:chgData name="Myrvag, Oda" userId="a8cbc5d5-a60f-469f-af81-81e559ffaccc" providerId="ADAL" clId="{81613F7F-5A23-4E29-8F93-D381433B8D2A}" dt="2022-05-06T21:05:42.177" v="14594"/>
          <ac:graphicFrameMkLst>
            <pc:docMk/>
            <pc:sldMk cId="71136575" sldId="2147309177"/>
            <ac:graphicFrameMk id="5" creationId="{AEBF1A55-D745-4454-A212-352D8BBDD4AC}"/>
          </ac:graphicFrameMkLst>
        </pc:graphicFrameChg>
        <pc:picChg chg="del mod">
          <ac:chgData name="Myrvag, Oda" userId="a8cbc5d5-a60f-469f-af81-81e559ffaccc" providerId="ADAL" clId="{81613F7F-5A23-4E29-8F93-D381433B8D2A}" dt="2022-05-09T12:57:39.062" v="23410" actId="478"/>
          <ac:picMkLst>
            <pc:docMk/>
            <pc:sldMk cId="71136575" sldId="2147309177"/>
            <ac:picMk id="18" creationId="{2888C421-F6A9-4361-926D-91A61A0A2D97}"/>
          </ac:picMkLst>
        </pc:picChg>
        <pc:picChg chg="del">
          <ac:chgData name="Myrvag, Oda" userId="a8cbc5d5-a60f-469f-af81-81e559ffaccc" providerId="ADAL" clId="{81613F7F-5A23-4E29-8F93-D381433B8D2A}" dt="2022-05-07T06:52:00.713" v="19434" actId="478"/>
          <ac:picMkLst>
            <pc:docMk/>
            <pc:sldMk cId="71136575" sldId="2147309177"/>
            <ac:picMk id="19" creationId="{C3F002E9-83E9-4A1F-BF4D-8305CD01BF6E}"/>
          </ac:picMkLst>
        </pc:picChg>
        <pc:picChg chg="del">
          <ac:chgData name="Myrvag, Oda" userId="a8cbc5d5-a60f-469f-af81-81e559ffaccc" providerId="ADAL" clId="{81613F7F-5A23-4E29-8F93-D381433B8D2A}" dt="2022-05-07T06:35:18.918" v="18508" actId="478"/>
          <ac:picMkLst>
            <pc:docMk/>
            <pc:sldMk cId="71136575" sldId="2147309177"/>
            <ac:picMk id="21" creationId="{9A76E1C0-F3A7-4CEF-9C54-FCCDE391D88A}"/>
          </ac:picMkLst>
        </pc:picChg>
        <pc:picChg chg="add del mod modCrop">
          <ac:chgData name="Myrvag, Oda" userId="a8cbc5d5-a60f-469f-af81-81e559ffaccc" providerId="ADAL" clId="{81613F7F-5A23-4E29-8F93-D381433B8D2A}" dt="2022-05-09T12:57:40.768" v="23411" actId="478"/>
          <ac:picMkLst>
            <pc:docMk/>
            <pc:sldMk cId="71136575" sldId="2147309177"/>
            <ac:picMk id="70" creationId="{905B5CC0-5458-45ED-9BD4-B8DE9C6568A3}"/>
          </ac:picMkLst>
        </pc:picChg>
        <pc:picChg chg="add mod">
          <ac:chgData name="Myrvag, Oda" userId="a8cbc5d5-a60f-469f-af81-81e559ffaccc" providerId="ADAL" clId="{81613F7F-5A23-4E29-8F93-D381433B8D2A}" dt="2022-05-09T12:58:00.761" v="23419" actId="1037"/>
          <ac:picMkLst>
            <pc:docMk/>
            <pc:sldMk cId="71136575" sldId="2147309177"/>
            <ac:picMk id="74" creationId="{136F8EDB-CF9B-4982-8E6C-3C77CC2814C3}"/>
          </ac:picMkLst>
        </pc:picChg>
        <pc:picChg chg="add mod">
          <ac:chgData name="Myrvag, Oda" userId="a8cbc5d5-a60f-469f-af81-81e559ffaccc" providerId="ADAL" clId="{81613F7F-5A23-4E29-8F93-D381433B8D2A}" dt="2022-05-09T12:57:58.234" v="23415" actId="1076"/>
          <ac:picMkLst>
            <pc:docMk/>
            <pc:sldMk cId="71136575" sldId="2147309177"/>
            <ac:picMk id="75" creationId="{6E8213BA-CEDE-461A-8405-B3CFF727BB9D}"/>
          </ac:picMkLst>
        </pc:picChg>
      </pc:sldChg>
      <pc:sldChg chg="addSp delSp modSp new add mod addCm delCm modNotesTx">
        <pc:chgData name="Myrvag, Oda" userId="a8cbc5d5-a60f-469f-af81-81e559ffaccc" providerId="ADAL" clId="{81613F7F-5A23-4E29-8F93-D381433B8D2A}" dt="2022-05-10T07:33:00.084" v="26442"/>
        <pc:sldMkLst>
          <pc:docMk/>
          <pc:sldMk cId="2335327680" sldId="2147309178"/>
        </pc:sldMkLst>
        <pc:spChg chg="mod">
          <ac:chgData name="Myrvag, Oda" userId="a8cbc5d5-a60f-469f-af81-81e559ffaccc" providerId="ADAL" clId="{81613F7F-5A23-4E29-8F93-D381433B8D2A}" dt="2022-05-10T07:32:35.571" v="26396" actId="948"/>
          <ac:spMkLst>
            <pc:docMk/>
            <pc:sldMk cId="2335327680" sldId="2147309178"/>
            <ac:spMk id="2" creationId="{8F58A632-28E7-45A1-B685-9B3E7763ED9F}"/>
          </ac:spMkLst>
        </pc:spChg>
        <pc:spChg chg="del mod">
          <ac:chgData name="Myrvag, Oda" userId="a8cbc5d5-a60f-469f-af81-81e559ffaccc" providerId="ADAL" clId="{81613F7F-5A23-4E29-8F93-D381433B8D2A}" dt="2022-05-10T07:29:37.881" v="26270" actId="478"/>
          <ac:spMkLst>
            <pc:docMk/>
            <pc:sldMk cId="2335327680" sldId="2147309178"/>
            <ac:spMk id="3" creationId="{D434225C-D5D0-4CE6-ACC9-797FBDB40464}"/>
          </ac:spMkLst>
        </pc:spChg>
        <pc:spChg chg="add del mod">
          <ac:chgData name="Myrvag, Oda" userId="a8cbc5d5-a60f-469f-af81-81e559ffaccc" providerId="ADAL" clId="{81613F7F-5A23-4E29-8F93-D381433B8D2A}" dt="2022-05-10T07:28:51.390" v="26145"/>
          <ac:spMkLst>
            <pc:docMk/>
            <pc:sldMk cId="2335327680" sldId="2147309178"/>
            <ac:spMk id="4" creationId="{B304F1AF-89A3-4FDB-BA46-2FA5C8F8BE86}"/>
          </ac:spMkLst>
        </pc:spChg>
        <pc:spChg chg="add del mod modVis">
          <ac:chgData name="Myrvag, Oda" userId="a8cbc5d5-a60f-469f-af81-81e559ffaccc" providerId="ADAL" clId="{81613F7F-5A23-4E29-8F93-D381433B8D2A}" dt="2022-05-06T21:14:37.203" v="15012"/>
          <ac:spMkLst>
            <pc:docMk/>
            <pc:sldMk cId="2335327680" sldId="2147309178"/>
            <ac:spMk id="4" creationId="{D9A76DBF-BC6F-45D8-BE61-35515E9D96CE}"/>
          </ac:spMkLst>
        </pc:spChg>
        <pc:spChg chg="add del mod modVis">
          <ac:chgData name="Myrvag, Oda" userId="a8cbc5d5-a60f-469f-af81-81e559ffaccc" providerId="ADAL" clId="{81613F7F-5A23-4E29-8F93-D381433B8D2A}" dt="2022-05-06T21:14:38.192" v="15068"/>
          <ac:spMkLst>
            <pc:docMk/>
            <pc:sldMk cId="2335327680" sldId="2147309178"/>
            <ac:spMk id="6" creationId="{698210D7-020F-4D68-B506-DFCFDBBD2F1A}"/>
          </ac:spMkLst>
        </pc:spChg>
        <pc:spChg chg="add del mod">
          <ac:chgData name="Myrvag, Oda" userId="a8cbc5d5-a60f-469f-af81-81e559ffaccc" providerId="ADAL" clId="{81613F7F-5A23-4E29-8F93-D381433B8D2A}" dt="2022-05-10T07:28:27.565" v="26131" actId="478"/>
          <ac:spMkLst>
            <pc:docMk/>
            <pc:sldMk cId="2335327680" sldId="2147309178"/>
            <ac:spMk id="6" creationId="{F3AF7149-D446-48B0-89F0-D991C8E3B688}"/>
          </ac:spMkLst>
        </pc:spChg>
        <pc:spChg chg="add del mod">
          <ac:chgData name="Myrvag, Oda" userId="a8cbc5d5-a60f-469f-af81-81e559ffaccc" providerId="ADAL" clId="{81613F7F-5A23-4E29-8F93-D381433B8D2A}" dt="2022-05-10T07:32:54.589" v="26439" actId="478"/>
          <ac:spMkLst>
            <pc:docMk/>
            <pc:sldMk cId="2335327680" sldId="2147309178"/>
            <ac:spMk id="7" creationId="{6368E4C4-EB5E-4A42-A4BB-E091683BD4B0}"/>
          </ac:spMkLst>
        </pc:spChg>
        <pc:spChg chg="add del mod modVis">
          <ac:chgData name="Myrvag, Oda" userId="a8cbc5d5-a60f-469f-af81-81e559ffaccc" providerId="ADAL" clId="{81613F7F-5A23-4E29-8F93-D381433B8D2A}" dt="2022-05-06T21:14:49.454" v="15113"/>
          <ac:spMkLst>
            <pc:docMk/>
            <pc:sldMk cId="2335327680" sldId="2147309178"/>
            <ac:spMk id="7" creationId="{B3E66A5B-5CD5-433C-89CC-6AEAF07288A5}"/>
          </ac:spMkLst>
        </pc:spChg>
        <pc:spChg chg="add del mod modVis">
          <ac:chgData name="Myrvag, Oda" userId="a8cbc5d5-a60f-469f-af81-81e559ffaccc" providerId="ADAL" clId="{81613F7F-5A23-4E29-8F93-D381433B8D2A}" dt="2022-05-06T21:14:51.538" v="15156"/>
          <ac:spMkLst>
            <pc:docMk/>
            <pc:sldMk cId="2335327680" sldId="2147309178"/>
            <ac:spMk id="8" creationId="{3AC5B651-11A6-4811-892E-9890C35D0C3B}"/>
          </ac:spMkLst>
        </pc:spChg>
        <pc:spChg chg="add del mod">
          <ac:chgData name="Myrvag, Oda" userId="a8cbc5d5-a60f-469f-af81-81e559ffaccc" providerId="ADAL" clId="{81613F7F-5A23-4E29-8F93-D381433B8D2A}" dt="2022-05-10T07:30:41.830" v="26272" actId="478"/>
          <ac:spMkLst>
            <pc:docMk/>
            <pc:sldMk cId="2335327680" sldId="2147309178"/>
            <ac:spMk id="9" creationId="{65AD2470-23CE-4E8E-951C-D5697D0796EE}"/>
          </ac:spMkLst>
        </pc:spChg>
        <pc:spChg chg="add del mod modVis">
          <ac:chgData name="Myrvag, Oda" userId="a8cbc5d5-a60f-469f-af81-81e559ffaccc" providerId="ADAL" clId="{81613F7F-5A23-4E29-8F93-D381433B8D2A}" dt="2022-05-10T07:32:29.307" v="26371"/>
          <ac:spMkLst>
            <pc:docMk/>
            <pc:sldMk cId="2335327680" sldId="2147309178"/>
            <ac:spMk id="12" creationId="{FC7C2372-AD55-4CCE-A857-B2CB5F40CA30}"/>
          </ac:spMkLst>
        </pc:spChg>
        <pc:spChg chg="add del mod modVis">
          <ac:chgData name="Myrvag, Oda" userId="a8cbc5d5-a60f-469f-af81-81e559ffaccc" providerId="ADAL" clId="{81613F7F-5A23-4E29-8F93-D381433B8D2A}" dt="2022-05-10T07:32:35.607" v="26435"/>
          <ac:spMkLst>
            <pc:docMk/>
            <pc:sldMk cId="2335327680" sldId="2147309178"/>
            <ac:spMk id="13" creationId="{53F5B38E-AEAE-412F-B1C3-2D97C41E168D}"/>
          </ac:spMkLst>
        </pc:spChg>
        <pc:graphicFrameChg chg="add mod ord modVis">
          <ac:chgData name="Myrvag, Oda" userId="a8cbc5d5-a60f-469f-af81-81e559ffaccc" providerId="ADAL" clId="{81613F7F-5A23-4E29-8F93-D381433B8D2A}" dt="2022-05-10T07:32:35.610" v="26437"/>
          <ac:graphicFrameMkLst>
            <pc:docMk/>
            <pc:sldMk cId="2335327680" sldId="2147309178"/>
            <ac:graphicFrameMk id="5" creationId="{6AD4DA79-1E04-4E88-9159-6BCF2AFF4E9D}"/>
          </ac:graphicFrameMkLst>
        </pc:graphicFrameChg>
        <pc:picChg chg="add mod">
          <ac:chgData name="Myrvag, Oda" userId="a8cbc5d5-a60f-469f-af81-81e559ffaccc" providerId="ADAL" clId="{81613F7F-5A23-4E29-8F93-D381433B8D2A}" dt="2022-05-10T07:32:18.848" v="26316" actId="1076"/>
          <ac:picMkLst>
            <pc:docMk/>
            <pc:sldMk cId="2335327680" sldId="2147309178"/>
            <ac:picMk id="11" creationId="{755628A9-D9C7-4F3B-A43A-2CEA76C8FBB3}"/>
          </ac:picMkLst>
        </pc:picChg>
      </pc:sldChg>
      <pc:sldChg chg="delSp modSp add del mod">
        <pc:chgData name="Myrvag, Oda" userId="a8cbc5d5-a60f-469f-af81-81e559ffaccc" providerId="ADAL" clId="{81613F7F-5A23-4E29-8F93-D381433B8D2A}" dt="2022-05-06T21:12:48.490" v="14727" actId="47"/>
        <pc:sldMkLst>
          <pc:docMk/>
          <pc:sldMk cId="3332592572" sldId="2147309178"/>
        </pc:sldMkLst>
        <pc:spChg chg="mod">
          <ac:chgData name="Myrvag, Oda" userId="a8cbc5d5-a60f-469f-af81-81e559ffaccc" providerId="ADAL" clId="{81613F7F-5A23-4E29-8F93-D381433B8D2A}" dt="2022-05-06T21:12:31.097" v="14722"/>
          <ac:spMkLst>
            <pc:docMk/>
            <pc:sldMk cId="3332592572" sldId="2147309178"/>
            <ac:spMk id="2" creationId="{C49E931D-ADE8-4690-8C6E-7A1BABFC9641}"/>
          </ac:spMkLst>
        </pc:spChg>
        <pc:spChg chg="mod">
          <ac:chgData name="Myrvag, Oda" userId="a8cbc5d5-a60f-469f-af81-81e559ffaccc" providerId="ADAL" clId="{81613F7F-5A23-4E29-8F93-D381433B8D2A}" dt="2022-05-06T21:12:31.099" v="14724"/>
          <ac:spMkLst>
            <pc:docMk/>
            <pc:sldMk cId="3332592572" sldId="2147309178"/>
            <ac:spMk id="3" creationId="{793DD9C4-067E-49A1-B71C-FB9087F22914}"/>
          </ac:spMkLst>
        </pc:spChg>
        <pc:spChg chg="mod">
          <ac:chgData name="Myrvag, Oda" userId="a8cbc5d5-a60f-469f-af81-81e559ffaccc" providerId="ADAL" clId="{81613F7F-5A23-4E29-8F93-D381433B8D2A}" dt="2022-05-06T21:12:31.093" v="14718"/>
          <ac:spMkLst>
            <pc:docMk/>
            <pc:sldMk cId="3332592572" sldId="2147309178"/>
            <ac:spMk id="27" creationId="{41CEE187-BE00-7D42-8048-C6B07796BE99}"/>
          </ac:spMkLst>
        </pc:spChg>
        <pc:spChg chg="del mod">
          <ac:chgData name="Myrvag, Oda" userId="a8cbc5d5-a60f-469f-af81-81e559ffaccc" providerId="ADAL" clId="{81613F7F-5A23-4E29-8F93-D381433B8D2A}" dt="2022-05-06T21:12:42.419" v="14726" actId="478"/>
          <ac:spMkLst>
            <pc:docMk/>
            <pc:sldMk cId="3332592572" sldId="2147309178"/>
            <ac:spMk id="28" creationId="{D33DEA4F-5FC8-B848-B6F7-C18E0CE01D5F}"/>
          </ac:spMkLst>
        </pc:spChg>
        <pc:picChg chg="del mod modCrop">
          <ac:chgData name="Myrvag, Oda" userId="a8cbc5d5-a60f-469f-af81-81e559ffaccc" providerId="ADAL" clId="{81613F7F-5A23-4E29-8F93-D381433B8D2A}" dt="2022-05-06T21:12:40.394" v="14725" actId="478"/>
          <ac:picMkLst>
            <pc:docMk/>
            <pc:sldMk cId="3332592572" sldId="2147309178"/>
            <ac:picMk id="22" creationId="{F365B297-13A6-E145-8D44-994741163071}"/>
          </ac:picMkLst>
        </pc:picChg>
        <pc:picChg chg="mod modCrop">
          <ac:chgData name="Myrvag, Oda" userId="a8cbc5d5-a60f-469f-af81-81e559ffaccc" providerId="ADAL" clId="{81613F7F-5A23-4E29-8F93-D381433B8D2A}" dt="2022-05-06T21:12:31.089" v="14716"/>
          <ac:picMkLst>
            <pc:docMk/>
            <pc:sldMk cId="3332592572" sldId="2147309178"/>
            <ac:picMk id="26" creationId="{22F3909E-5C4C-BC43-B215-04BFE2CC5B88}"/>
          </ac:picMkLst>
        </pc:picChg>
      </pc:sldChg>
      <pc:sldChg chg="addSp delSp modSp new add mod">
        <pc:chgData name="Myrvag, Oda" userId="a8cbc5d5-a60f-469f-af81-81e559ffaccc" providerId="ADAL" clId="{81613F7F-5A23-4E29-8F93-D381433B8D2A}" dt="2022-05-07T07:23:58.082" v="20764"/>
        <pc:sldMkLst>
          <pc:docMk/>
          <pc:sldMk cId="1262074320" sldId="2147309179"/>
        </pc:sldMkLst>
        <pc:spChg chg="mod">
          <ac:chgData name="Myrvag, Oda" userId="a8cbc5d5-a60f-469f-af81-81e559ffaccc" providerId="ADAL" clId="{81613F7F-5A23-4E29-8F93-D381433B8D2A}" dt="2022-05-07T07:23:58.077" v="20762" actId="948"/>
          <ac:spMkLst>
            <pc:docMk/>
            <pc:sldMk cId="1262074320" sldId="2147309179"/>
            <ac:spMk id="2" creationId="{78BC26A9-501F-46DF-B352-F1977372ED12}"/>
          </ac:spMkLst>
        </pc:spChg>
        <pc:spChg chg="del">
          <ac:chgData name="Myrvag, Oda" userId="a8cbc5d5-a60f-469f-af81-81e559ffaccc" providerId="ADAL" clId="{81613F7F-5A23-4E29-8F93-D381433B8D2A}" dt="2022-05-07T07:19:18.935" v="20215" actId="478"/>
          <ac:spMkLst>
            <pc:docMk/>
            <pc:sldMk cId="1262074320" sldId="2147309179"/>
            <ac:spMk id="3" creationId="{FFB44039-C9D9-4874-8D5A-52C157E8B54F}"/>
          </ac:spMkLst>
        </pc:spChg>
        <pc:graphicFrameChg chg="add mod ord modVis">
          <ac:chgData name="Myrvag, Oda" userId="a8cbc5d5-a60f-469f-af81-81e559ffaccc" providerId="ADAL" clId="{81613F7F-5A23-4E29-8F93-D381433B8D2A}" dt="2022-05-07T07:23:58.082" v="20764"/>
          <ac:graphicFrameMkLst>
            <pc:docMk/>
            <pc:sldMk cId="1262074320" sldId="2147309179"/>
            <ac:graphicFrameMk id="4" creationId="{54F7DFD5-FA9B-4780-A56E-0B234AD8B720}"/>
          </ac:graphicFrameMkLst>
        </pc:graphicFrameChg>
        <pc:picChg chg="add mod">
          <ac:chgData name="Myrvag, Oda" userId="a8cbc5d5-a60f-469f-af81-81e559ffaccc" providerId="ADAL" clId="{81613F7F-5A23-4E29-8F93-D381433B8D2A}" dt="2022-05-07T07:19:24.266" v="20217" actId="1076"/>
          <ac:picMkLst>
            <pc:docMk/>
            <pc:sldMk cId="1262074320" sldId="2147309179"/>
            <ac:picMk id="5" creationId="{901E9E68-4EBE-4C40-8F00-3E5DAAF9C18C}"/>
          </ac:picMkLst>
        </pc:picChg>
      </pc:sldChg>
      <pc:sldChg chg="addSp delSp modSp new add del mod">
        <pc:chgData name="Myrvag, Oda" userId="a8cbc5d5-a60f-469f-af81-81e559ffaccc" providerId="ADAL" clId="{81613F7F-5A23-4E29-8F93-D381433B8D2A}" dt="2022-05-07T07:13:11.951" v="20026" actId="2696"/>
        <pc:sldMkLst>
          <pc:docMk/>
          <pc:sldMk cId="1745390590" sldId="2147309179"/>
        </pc:sldMkLst>
        <pc:spChg chg="mod">
          <ac:chgData name="Myrvag, Oda" userId="a8cbc5d5-a60f-469f-af81-81e559ffaccc" providerId="ADAL" clId="{81613F7F-5A23-4E29-8F93-D381433B8D2A}" dt="2022-05-06T21:17:02.578" v="15261" actId="948"/>
          <ac:spMkLst>
            <pc:docMk/>
            <pc:sldMk cId="1745390590" sldId="2147309179"/>
            <ac:spMk id="2" creationId="{0B22C0A2-DB15-4BCD-928D-20F39D741C27}"/>
          </ac:spMkLst>
        </pc:spChg>
        <pc:spChg chg="mod">
          <ac:chgData name="Myrvag, Oda" userId="a8cbc5d5-a60f-469f-af81-81e559ffaccc" providerId="ADAL" clId="{81613F7F-5A23-4E29-8F93-D381433B8D2A}" dt="2022-05-06T21:33:43.322" v="17735" actId="20577"/>
          <ac:spMkLst>
            <pc:docMk/>
            <pc:sldMk cId="1745390590" sldId="2147309179"/>
            <ac:spMk id="3" creationId="{52B37E63-6FD3-4ABC-A18B-8FA998D9E84A}"/>
          </ac:spMkLst>
        </pc:spChg>
        <pc:spChg chg="add del mod modVis">
          <ac:chgData name="Myrvag, Oda" userId="a8cbc5d5-a60f-469f-af81-81e559ffaccc" providerId="ADAL" clId="{81613F7F-5A23-4E29-8F93-D381433B8D2A}" dt="2022-05-06T21:16:56.034" v="15231"/>
          <ac:spMkLst>
            <pc:docMk/>
            <pc:sldMk cId="1745390590" sldId="2147309179"/>
            <ac:spMk id="4" creationId="{64ECED36-7932-45B3-A1ED-10D0901838BB}"/>
          </ac:spMkLst>
        </pc:spChg>
        <pc:graphicFrameChg chg="add mod ord modVis">
          <ac:chgData name="Myrvag, Oda" userId="a8cbc5d5-a60f-469f-af81-81e559ffaccc" providerId="ADAL" clId="{81613F7F-5A23-4E29-8F93-D381433B8D2A}" dt="2022-05-06T21:17:02.588" v="15263"/>
          <ac:graphicFrameMkLst>
            <pc:docMk/>
            <pc:sldMk cId="1745390590" sldId="2147309179"/>
            <ac:graphicFrameMk id="5" creationId="{D7E862C9-5036-4929-9423-AA9DB1DBAB3B}"/>
          </ac:graphicFrameMkLst>
        </pc:graphicFrameChg>
      </pc:sldChg>
      <pc:sldChg chg="addSp delSp modSp new add mod modTransition modClrScheme modShow chgLayout">
        <pc:chgData name="Myrvag, Oda" userId="a8cbc5d5-a60f-469f-af81-81e559ffaccc" providerId="ADAL" clId="{81613F7F-5A23-4E29-8F93-D381433B8D2A}" dt="2022-05-10T07:14:42.006" v="24457"/>
        <pc:sldMkLst>
          <pc:docMk/>
          <pc:sldMk cId="4079708626" sldId="2147309180"/>
        </pc:sldMkLst>
        <pc:spChg chg="del mod ord">
          <ac:chgData name="Myrvag, Oda" userId="a8cbc5d5-a60f-469f-af81-81e559ffaccc" providerId="ADAL" clId="{81613F7F-5A23-4E29-8F93-D381433B8D2A}" dt="2022-05-10T06:27:53.096" v="23773"/>
          <ac:spMkLst>
            <pc:docMk/>
            <pc:sldMk cId="4079708626" sldId="2147309180"/>
            <ac:spMk id="2" creationId="{B865B7AD-0110-4C30-BC7D-E7930F3DD024}"/>
          </ac:spMkLst>
        </pc:spChg>
        <pc:spChg chg="del mod ord">
          <ac:chgData name="Myrvag, Oda" userId="a8cbc5d5-a60f-469f-af81-81e559ffaccc" providerId="ADAL" clId="{81613F7F-5A23-4E29-8F93-D381433B8D2A}" dt="2022-05-10T06:27:53.096" v="23773"/>
          <ac:spMkLst>
            <pc:docMk/>
            <pc:sldMk cId="4079708626" sldId="2147309180"/>
            <ac:spMk id="3" creationId="{7DAACFFF-0F22-4B28-94E7-A255E5D8FFC4}"/>
          </ac:spMkLst>
        </pc:spChg>
        <pc:spChg chg="add mod ord">
          <ac:chgData name="Myrvag, Oda" userId="a8cbc5d5-a60f-469f-af81-81e559ffaccc" providerId="ADAL" clId="{81613F7F-5A23-4E29-8F93-D381433B8D2A}" dt="2022-05-10T06:28:06.889" v="23819" actId="948"/>
          <ac:spMkLst>
            <pc:docMk/>
            <pc:sldMk cId="4079708626" sldId="2147309180"/>
            <ac:spMk id="4" creationId="{93FBDE6B-B075-475D-BA20-6525830EECF5}"/>
          </ac:spMkLst>
        </pc:spChg>
        <pc:spChg chg="add del mod ord">
          <ac:chgData name="Myrvag, Oda" userId="a8cbc5d5-a60f-469f-af81-81e559ffaccc" providerId="ADAL" clId="{81613F7F-5A23-4E29-8F93-D381433B8D2A}" dt="2022-05-10T06:28:08.522" v="23822" actId="478"/>
          <ac:spMkLst>
            <pc:docMk/>
            <pc:sldMk cId="4079708626" sldId="2147309180"/>
            <ac:spMk id="5" creationId="{ECE8AACC-1F36-4814-97F3-733FB34F8B7E}"/>
          </ac:spMkLst>
        </pc:spChg>
        <pc:spChg chg="add mod">
          <ac:chgData name="Myrvag, Oda" userId="a8cbc5d5-a60f-469f-af81-81e559ffaccc" providerId="ADAL" clId="{81613F7F-5A23-4E29-8F93-D381433B8D2A}" dt="2022-05-10T06:28:08.522" v="23822" actId="478"/>
          <ac:spMkLst>
            <pc:docMk/>
            <pc:sldMk cId="4079708626" sldId="2147309180"/>
            <ac:spMk id="8" creationId="{28C95744-C167-40AA-A41D-3CFE1F1D6B66}"/>
          </ac:spMkLst>
        </pc:spChg>
        <pc:graphicFrameChg chg="add mod ord modVis">
          <ac:chgData name="Myrvag, Oda" userId="a8cbc5d5-a60f-469f-af81-81e559ffaccc" providerId="ADAL" clId="{81613F7F-5A23-4E29-8F93-D381433B8D2A}" dt="2022-05-10T06:28:06.893" v="23821"/>
          <ac:graphicFrameMkLst>
            <pc:docMk/>
            <pc:sldMk cId="4079708626" sldId="2147309180"/>
            <ac:graphicFrameMk id="6" creationId="{EFF7D8EB-2131-4592-9370-859F7998862D}"/>
          </ac:graphicFrameMkLst>
        </pc:graphicFrameChg>
      </pc:sldChg>
      <pc:sldChg chg="addSp delSp modSp new add mod modTransition modShow">
        <pc:chgData name="Myrvag, Oda" userId="a8cbc5d5-a60f-469f-af81-81e559ffaccc" providerId="ADAL" clId="{81613F7F-5A23-4E29-8F93-D381433B8D2A}" dt="2022-05-10T07:14:43.388" v="24459"/>
        <pc:sldMkLst>
          <pc:docMk/>
          <pc:sldMk cId="3908950601" sldId="2147309181"/>
        </pc:sldMkLst>
        <pc:spChg chg="del">
          <ac:chgData name="Myrvag, Oda" userId="a8cbc5d5-a60f-469f-af81-81e559ffaccc" providerId="ADAL" clId="{81613F7F-5A23-4E29-8F93-D381433B8D2A}" dt="2022-05-10T06:28:14.258" v="23826" actId="478"/>
          <ac:spMkLst>
            <pc:docMk/>
            <pc:sldMk cId="3908950601" sldId="2147309181"/>
            <ac:spMk id="2" creationId="{6460C95B-B975-412A-9D08-A8742CF446B8}"/>
          </ac:spMkLst>
        </pc:spChg>
        <pc:spChg chg="del">
          <ac:chgData name="Myrvag, Oda" userId="a8cbc5d5-a60f-469f-af81-81e559ffaccc" providerId="ADAL" clId="{81613F7F-5A23-4E29-8F93-D381433B8D2A}" dt="2022-05-10T06:28:13.420" v="23825" actId="478"/>
          <ac:spMkLst>
            <pc:docMk/>
            <pc:sldMk cId="3908950601" sldId="2147309181"/>
            <ac:spMk id="3" creationId="{DCF6A92A-3872-459D-8447-76308BFFD6D6}"/>
          </ac:spMkLst>
        </pc:spChg>
        <pc:graphicFrameChg chg="add mod modVis">
          <ac:chgData name="Myrvag, Oda" userId="a8cbc5d5-a60f-469f-af81-81e559ffaccc" providerId="ADAL" clId="{81613F7F-5A23-4E29-8F93-D381433B8D2A}" dt="2022-05-10T06:28:14.521" v="23839"/>
          <ac:graphicFrameMkLst>
            <pc:docMk/>
            <pc:sldMk cId="3908950601" sldId="2147309181"/>
            <ac:graphicFrameMk id="4" creationId="{A0EFBA93-B677-4EFC-B307-497842182440}"/>
          </ac:graphicFrameMkLst>
        </pc:graphicFrameChg>
        <pc:picChg chg="add">
          <ac:chgData name="Myrvag, Oda" userId="a8cbc5d5-a60f-469f-af81-81e559ffaccc" providerId="ADAL" clId="{81613F7F-5A23-4E29-8F93-D381433B8D2A}" dt="2022-05-10T06:28:25.530" v="23841"/>
          <ac:picMkLst>
            <pc:docMk/>
            <pc:sldMk cId="3908950601" sldId="2147309181"/>
            <ac:picMk id="6" creationId="{5F77DF0D-FB9D-4CF5-9952-BAB22429DFFE}"/>
          </ac:picMkLst>
        </pc:picChg>
      </pc:sldChg>
      <pc:sldChg chg="addSp new add mod modTransition modShow">
        <pc:chgData name="Myrvag, Oda" userId="a8cbc5d5-a60f-469f-af81-81e559ffaccc" providerId="ADAL" clId="{81613F7F-5A23-4E29-8F93-D381433B8D2A}" dt="2022-05-10T07:14:46.919" v="24461"/>
        <pc:sldMkLst>
          <pc:docMk/>
          <pc:sldMk cId="1519378211" sldId="2147309182"/>
        </pc:sldMkLst>
        <pc:picChg chg="add">
          <ac:chgData name="Myrvag, Oda" userId="a8cbc5d5-a60f-469f-af81-81e559ffaccc" providerId="ADAL" clId="{81613F7F-5A23-4E29-8F93-D381433B8D2A}" dt="2022-05-10T06:28:46.553" v="23845"/>
          <ac:picMkLst>
            <pc:docMk/>
            <pc:sldMk cId="1519378211" sldId="2147309182"/>
            <ac:picMk id="5" creationId="{45E23ABC-F5C9-422A-86D9-D8AF2FC77E28}"/>
          </ac:picMkLst>
        </pc:picChg>
      </pc:sldChg>
      <pc:sldChg chg="addSp modSp new add mod">
        <pc:chgData name="Myrvag, Oda" userId="a8cbc5d5-a60f-469f-af81-81e559ffaccc" providerId="ADAL" clId="{81613F7F-5A23-4E29-8F93-D381433B8D2A}" dt="2022-05-10T06:32:42.307" v="23881"/>
        <pc:sldMkLst>
          <pc:docMk/>
          <pc:sldMk cId="407088022" sldId="2147309183"/>
        </pc:sldMkLst>
        <pc:spChg chg="mod">
          <ac:chgData name="Myrvag, Oda" userId="a8cbc5d5-a60f-469f-af81-81e559ffaccc" providerId="ADAL" clId="{81613F7F-5A23-4E29-8F93-D381433B8D2A}" dt="2022-05-10T06:32:42.300" v="23879" actId="948"/>
          <ac:spMkLst>
            <pc:docMk/>
            <pc:sldMk cId="407088022" sldId="2147309183"/>
            <ac:spMk id="2" creationId="{731D585B-4639-47B3-983B-B079965D32F3}"/>
          </ac:spMkLst>
        </pc:spChg>
        <pc:graphicFrameChg chg="add mod ord modVis">
          <ac:chgData name="Myrvag, Oda" userId="a8cbc5d5-a60f-469f-af81-81e559ffaccc" providerId="ADAL" clId="{81613F7F-5A23-4E29-8F93-D381433B8D2A}" dt="2022-05-10T06:32:42.307" v="23881"/>
          <ac:graphicFrameMkLst>
            <pc:docMk/>
            <pc:sldMk cId="407088022" sldId="2147309183"/>
            <ac:graphicFrameMk id="5" creationId="{11A1D6B0-3240-4B74-965A-BCCFFD2ACDBA}"/>
          </ac:graphicFrameMkLst>
        </pc:graphicFrameChg>
      </pc:sldChg>
      <pc:sldChg chg="addSp modSp new add mod ord">
        <pc:chgData name="Myrvag, Oda" userId="a8cbc5d5-a60f-469f-af81-81e559ffaccc" providerId="ADAL" clId="{81613F7F-5A23-4E29-8F93-D381433B8D2A}" dt="2022-05-10T07:09:06.034" v="24237"/>
        <pc:sldMkLst>
          <pc:docMk/>
          <pc:sldMk cId="2836290133" sldId="2147309184"/>
        </pc:sldMkLst>
        <pc:spChg chg="mod">
          <ac:chgData name="Myrvag, Oda" userId="a8cbc5d5-a60f-469f-af81-81e559ffaccc" providerId="ADAL" clId="{81613F7F-5A23-4E29-8F93-D381433B8D2A}" dt="2022-05-10T07:08:08.221" v="24196" actId="948"/>
          <ac:spMkLst>
            <pc:docMk/>
            <pc:sldMk cId="2836290133" sldId="2147309184"/>
            <ac:spMk id="2" creationId="{228E54DB-7B99-4AD4-9CE6-ECB99EBDFD38}"/>
          </ac:spMkLst>
        </pc:spChg>
        <pc:graphicFrameChg chg="add mod ord modVis">
          <ac:chgData name="Myrvag, Oda" userId="a8cbc5d5-a60f-469f-af81-81e559ffaccc" providerId="ADAL" clId="{81613F7F-5A23-4E29-8F93-D381433B8D2A}" dt="2022-05-10T07:08:08.255" v="24211"/>
          <ac:graphicFrameMkLst>
            <pc:docMk/>
            <pc:sldMk cId="2836290133" sldId="2147309184"/>
            <ac:graphicFrameMk id="5" creationId="{45919AD8-4454-47D3-9550-73230431B358}"/>
          </ac:graphicFrameMkLst>
        </pc:graphicFrameChg>
      </pc:sldChg>
      <pc:sldMasterChg chg="del delSldLayout">
        <pc:chgData name="Myrvag, Oda" userId="a8cbc5d5-a60f-469f-af81-81e559ffaccc" providerId="ADAL" clId="{81613F7F-5A23-4E29-8F93-D381433B8D2A}" dt="2022-05-07T06:39:55.612" v="18940" actId="700"/>
        <pc:sldMasterMkLst>
          <pc:docMk/>
          <pc:sldMasterMk cId="1546946672" sldId="2147483648"/>
        </pc:sldMasterMkLst>
        <pc:sldLayoutChg chg="del">
          <pc:chgData name="Myrvag, Oda" userId="a8cbc5d5-a60f-469f-af81-81e559ffaccc" providerId="ADAL" clId="{81613F7F-5A23-4E29-8F93-D381433B8D2A}" dt="2022-05-07T06:39:55.612" v="18940" actId="700"/>
          <pc:sldLayoutMkLst>
            <pc:docMk/>
            <pc:sldMasterMk cId="1546946672" sldId="2147483648"/>
            <pc:sldLayoutMk cId="2755414816" sldId="2147483649"/>
          </pc:sldLayoutMkLst>
        </pc:sldLayoutChg>
        <pc:sldLayoutChg chg="del">
          <pc:chgData name="Myrvag, Oda" userId="a8cbc5d5-a60f-469f-af81-81e559ffaccc" providerId="ADAL" clId="{81613F7F-5A23-4E29-8F93-D381433B8D2A}" dt="2022-05-07T06:39:55.612" v="18940" actId="700"/>
          <pc:sldLayoutMkLst>
            <pc:docMk/>
            <pc:sldMasterMk cId="1546946672" sldId="2147483648"/>
            <pc:sldLayoutMk cId="2758294790" sldId="2147483650"/>
          </pc:sldLayoutMkLst>
        </pc:sldLayoutChg>
        <pc:sldLayoutChg chg="del">
          <pc:chgData name="Myrvag, Oda" userId="a8cbc5d5-a60f-469f-af81-81e559ffaccc" providerId="ADAL" clId="{81613F7F-5A23-4E29-8F93-D381433B8D2A}" dt="2022-05-07T06:39:55.612" v="18940" actId="700"/>
          <pc:sldLayoutMkLst>
            <pc:docMk/>
            <pc:sldMasterMk cId="1546946672" sldId="2147483648"/>
            <pc:sldLayoutMk cId="2749619652" sldId="2147483651"/>
          </pc:sldLayoutMkLst>
        </pc:sldLayoutChg>
        <pc:sldLayoutChg chg="del">
          <pc:chgData name="Myrvag, Oda" userId="a8cbc5d5-a60f-469f-af81-81e559ffaccc" providerId="ADAL" clId="{81613F7F-5A23-4E29-8F93-D381433B8D2A}" dt="2022-05-07T06:39:55.612" v="18940" actId="700"/>
          <pc:sldLayoutMkLst>
            <pc:docMk/>
            <pc:sldMasterMk cId="1546946672" sldId="2147483648"/>
            <pc:sldLayoutMk cId="2647116744" sldId="2147483652"/>
          </pc:sldLayoutMkLst>
        </pc:sldLayoutChg>
        <pc:sldLayoutChg chg="del">
          <pc:chgData name="Myrvag, Oda" userId="a8cbc5d5-a60f-469f-af81-81e559ffaccc" providerId="ADAL" clId="{81613F7F-5A23-4E29-8F93-D381433B8D2A}" dt="2022-05-07T06:39:55.612" v="18940" actId="700"/>
          <pc:sldLayoutMkLst>
            <pc:docMk/>
            <pc:sldMasterMk cId="1546946672" sldId="2147483648"/>
            <pc:sldLayoutMk cId="1102210821" sldId="2147483653"/>
          </pc:sldLayoutMkLst>
        </pc:sldLayoutChg>
        <pc:sldLayoutChg chg="del">
          <pc:chgData name="Myrvag, Oda" userId="a8cbc5d5-a60f-469f-af81-81e559ffaccc" providerId="ADAL" clId="{81613F7F-5A23-4E29-8F93-D381433B8D2A}" dt="2022-05-07T06:39:55.612" v="18940" actId="700"/>
          <pc:sldLayoutMkLst>
            <pc:docMk/>
            <pc:sldMasterMk cId="1546946672" sldId="2147483648"/>
            <pc:sldLayoutMk cId="2033359205" sldId="2147483654"/>
          </pc:sldLayoutMkLst>
        </pc:sldLayoutChg>
        <pc:sldLayoutChg chg="del">
          <pc:chgData name="Myrvag, Oda" userId="a8cbc5d5-a60f-469f-af81-81e559ffaccc" providerId="ADAL" clId="{81613F7F-5A23-4E29-8F93-D381433B8D2A}" dt="2022-05-07T06:39:55.612" v="18940" actId="700"/>
          <pc:sldLayoutMkLst>
            <pc:docMk/>
            <pc:sldMasterMk cId="1546946672" sldId="2147483648"/>
            <pc:sldLayoutMk cId="3254332972" sldId="2147483655"/>
          </pc:sldLayoutMkLst>
        </pc:sldLayoutChg>
        <pc:sldLayoutChg chg="del">
          <pc:chgData name="Myrvag, Oda" userId="a8cbc5d5-a60f-469f-af81-81e559ffaccc" providerId="ADAL" clId="{81613F7F-5A23-4E29-8F93-D381433B8D2A}" dt="2022-05-07T06:39:55.612" v="18940" actId="700"/>
          <pc:sldLayoutMkLst>
            <pc:docMk/>
            <pc:sldMasterMk cId="1546946672" sldId="2147483648"/>
            <pc:sldLayoutMk cId="1783491119" sldId="2147483656"/>
          </pc:sldLayoutMkLst>
        </pc:sldLayoutChg>
        <pc:sldLayoutChg chg="del">
          <pc:chgData name="Myrvag, Oda" userId="a8cbc5d5-a60f-469f-af81-81e559ffaccc" providerId="ADAL" clId="{81613F7F-5A23-4E29-8F93-D381433B8D2A}" dt="2022-05-07T06:39:55.612" v="18940" actId="700"/>
          <pc:sldLayoutMkLst>
            <pc:docMk/>
            <pc:sldMasterMk cId="1546946672" sldId="2147483648"/>
            <pc:sldLayoutMk cId="3120796891" sldId="2147483657"/>
          </pc:sldLayoutMkLst>
        </pc:sldLayoutChg>
        <pc:sldLayoutChg chg="del">
          <pc:chgData name="Myrvag, Oda" userId="a8cbc5d5-a60f-469f-af81-81e559ffaccc" providerId="ADAL" clId="{81613F7F-5A23-4E29-8F93-D381433B8D2A}" dt="2022-05-07T06:39:55.612" v="18940" actId="700"/>
          <pc:sldLayoutMkLst>
            <pc:docMk/>
            <pc:sldMasterMk cId="1546946672" sldId="2147483648"/>
            <pc:sldLayoutMk cId="3792213608" sldId="2147483658"/>
          </pc:sldLayoutMkLst>
        </pc:sldLayoutChg>
        <pc:sldLayoutChg chg="del">
          <pc:chgData name="Myrvag, Oda" userId="a8cbc5d5-a60f-469f-af81-81e559ffaccc" providerId="ADAL" clId="{81613F7F-5A23-4E29-8F93-D381433B8D2A}" dt="2022-05-07T06:39:55.612" v="18940" actId="700"/>
          <pc:sldLayoutMkLst>
            <pc:docMk/>
            <pc:sldMasterMk cId="1546946672" sldId="2147483648"/>
            <pc:sldLayoutMk cId="771649167" sldId="2147483659"/>
          </pc:sldLayoutMkLst>
        </pc:sldLayoutChg>
        <pc:sldLayoutChg chg="del">
          <pc:chgData name="Myrvag, Oda" userId="a8cbc5d5-a60f-469f-af81-81e559ffaccc" providerId="ADAL" clId="{81613F7F-5A23-4E29-8F93-D381433B8D2A}" dt="2022-05-06T16:50:48.587" v="9238" actId="47"/>
          <pc:sldLayoutMkLst>
            <pc:docMk/>
            <pc:sldMasterMk cId="1546946672" sldId="2147483648"/>
            <pc:sldLayoutMk cId="174642529" sldId="2147483687"/>
          </pc:sldLayoutMkLst>
        </pc:sldLayoutChg>
      </pc:sldMasterChg>
      <pc:sldMasterChg chg="delSldLayout">
        <pc:chgData name="Myrvag, Oda" userId="a8cbc5d5-a60f-469f-af81-81e559ffaccc" providerId="ADAL" clId="{81613F7F-5A23-4E29-8F93-D381433B8D2A}" dt="2022-05-06T21:12:48.490" v="14727" actId="47"/>
        <pc:sldMasterMkLst>
          <pc:docMk/>
          <pc:sldMasterMk cId="3680208691" sldId="2147483660"/>
        </pc:sldMasterMkLst>
        <pc:sldLayoutChg chg="del">
          <pc:chgData name="Myrvag, Oda" userId="a8cbc5d5-a60f-469f-af81-81e559ffaccc" providerId="ADAL" clId="{81613F7F-5A23-4E29-8F93-D381433B8D2A}" dt="2022-05-06T21:12:48.490" v="14727" actId="47"/>
          <pc:sldLayoutMkLst>
            <pc:docMk/>
            <pc:sldMasterMk cId="3680208691" sldId="2147483660"/>
            <pc:sldLayoutMk cId="1742198512" sldId="2147483673"/>
          </pc:sldLayoutMkLst>
        </pc:sldLayoutChg>
        <pc:sldLayoutChg chg="del">
          <pc:chgData name="Myrvag, Oda" userId="a8cbc5d5-a60f-469f-af81-81e559ffaccc" providerId="ADAL" clId="{81613F7F-5A23-4E29-8F93-D381433B8D2A}" dt="2022-05-06T16:30:29.853" v="7121" actId="47"/>
          <pc:sldLayoutMkLst>
            <pc:docMk/>
            <pc:sldMasterMk cId="3680208691" sldId="2147483660"/>
            <pc:sldLayoutMk cId="1462431541" sldId="2147483687"/>
          </pc:sldLayoutMkLst>
        </pc:sldLayoutChg>
      </pc:sldMasterChg>
      <pc:sldMasterChg chg="addSp modSp del mod delSldLayout">
        <pc:chgData name="Myrvag, Oda" userId="a8cbc5d5-a60f-469f-af81-81e559ffaccc" providerId="ADAL" clId="{81613F7F-5A23-4E29-8F93-D381433B8D2A}" dt="2022-05-06T17:07:37.816" v="10853" actId="47"/>
        <pc:sldMasterMkLst>
          <pc:docMk/>
          <pc:sldMasterMk cId="1014027371" sldId="2147483673"/>
        </pc:sldMasterMkLst>
        <pc:graphicFrameChg chg="add mod ord modVis">
          <ac:chgData name="Myrvag, Oda" userId="a8cbc5d5-a60f-469f-af81-81e559ffaccc" providerId="ADAL" clId="{81613F7F-5A23-4E29-8F93-D381433B8D2A}" dt="2022-05-06T16:33:18.710" v="7338"/>
          <ac:graphicFrameMkLst>
            <pc:docMk/>
            <pc:sldMasterMk cId="1014027371" sldId="2147483673"/>
            <ac:graphicFrameMk id="2" creationId="{70C9AC62-C410-4AA6-8BE8-BF5337C6FEBC}"/>
          </ac:graphicFrameMkLst>
        </pc:graphicFrameChg>
        <pc:sldLayoutChg chg="del">
          <pc:chgData name="Myrvag, Oda" userId="a8cbc5d5-a60f-469f-af81-81e559ffaccc" providerId="ADAL" clId="{81613F7F-5A23-4E29-8F93-D381433B8D2A}" dt="2022-05-06T17:07:37.816" v="10853" actId="47"/>
          <pc:sldLayoutMkLst>
            <pc:docMk/>
            <pc:sldMasterMk cId="1014027371" sldId="2147483673"/>
            <pc:sldLayoutMk cId="1867533131" sldId="2147483674"/>
          </pc:sldLayoutMkLst>
        </pc:sldLayoutChg>
        <pc:sldLayoutChg chg="del">
          <pc:chgData name="Myrvag, Oda" userId="a8cbc5d5-a60f-469f-af81-81e559ffaccc" providerId="ADAL" clId="{81613F7F-5A23-4E29-8F93-D381433B8D2A}" dt="2022-05-06T17:07:37.816" v="10853" actId="47"/>
          <pc:sldLayoutMkLst>
            <pc:docMk/>
            <pc:sldMasterMk cId="1014027371" sldId="2147483673"/>
            <pc:sldLayoutMk cId="4241437" sldId="2147483675"/>
          </pc:sldLayoutMkLst>
        </pc:sldLayoutChg>
        <pc:sldLayoutChg chg="del">
          <pc:chgData name="Myrvag, Oda" userId="a8cbc5d5-a60f-469f-af81-81e559ffaccc" providerId="ADAL" clId="{81613F7F-5A23-4E29-8F93-D381433B8D2A}" dt="2022-05-06T17:07:37.816" v="10853" actId="47"/>
          <pc:sldLayoutMkLst>
            <pc:docMk/>
            <pc:sldMasterMk cId="1014027371" sldId="2147483673"/>
            <pc:sldLayoutMk cId="3100239700" sldId="2147483676"/>
          </pc:sldLayoutMkLst>
        </pc:sldLayoutChg>
        <pc:sldLayoutChg chg="del">
          <pc:chgData name="Myrvag, Oda" userId="a8cbc5d5-a60f-469f-af81-81e559ffaccc" providerId="ADAL" clId="{81613F7F-5A23-4E29-8F93-D381433B8D2A}" dt="2022-05-06T17:07:37.816" v="10853" actId="47"/>
          <pc:sldLayoutMkLst>
            <pc:docMk/>
            <pc:sldMasterMk cId="1014027371" sldId="2147483673"/>
            <pc:sldLayoutMk cId="3888813957" sldId="2147483677"/>
          </pc:sldLayoutMkLst>
        </pc:sldLayoutChg>
        <pc:sldLayoutChg chg="del">
          <pc:chgData name="Myrvag, Oda" userId="a8cbc5d5-a60f-469f-af81-81e559ffaccc" providerId="ADAL" clId="{81613F7F-5A23-4E29-8F93-D381433B8D2A}" dt="2022-05-06T17:07:37.816" v="10853" actId="47"/>
          <pc:sldLayoutMkLst>
            <pc:docMk/>
            <pc:sldMasterMk cId="1014027371" sldId="2147483673"/>
            <pc:sldLayoutMk cId="4011859249" sldId="2147483678"/>
          </pc:sldLayoutMkLst>
        </pc:sldLayoutChg>
        <pc:sldLayoutChg chg="del">
          <pc:chgData name="Myrvag, Oda" userId="a8cbc5d5-a60f-469f-af81-81e559ffaccc" providerId="ADAL" clId="{81613F7F-5A23-4E29-8F93-D381433B8D2A}" dt="2022-05-06T17:07:37.816" v="10853" actId="47"/>
          <pc:sldLayoutMkLst>
            <pc:docMk/>
            <pc:sldMasterMk cId="1014027371" sldId="2147483673"/>
            <pc:sldLayoutMk cId="44689835" sldId="2147483679"/>
          </pc:sldLayoutMkLst>
        </pc:sldLayoutChg>
        <pc:sldLayoutChg chg="del">
          <pc:chgData name="Myrvag, Oda" userId="a8cbc5d5-a60f-469f-af81-81e559ffaccc" providerId="ADAL" clId="{81613F7F-5A23-4E29-8F93-D381433B8D2A}" dt="2022-05-06T17:07:37.816" v="10853" actId="47"/>
          <pc:sldLayoutMkLst>
            <pc:docMk/>
            <pc:sldMasterMk cId="1014027371" sldId="2147483673"/>
            <pc:sldLayoutMk cId="3877692179" sldId="2147483680"/>
          </pc:sldLayoutMkLst>
        </pc:sldLayoutChg>
        <pc:sldLayoutChg chg="del">
          <pc:chgData name="Myrvag, Oda" userId="a8cbc5d5-a60f-469f-af81-81e559ffaccc" providerId="ADAL" clId="{81613F7F-5A23-4E29-8F93-D381433B8D2A}" dt="2022-05-06T17:07:37.816" v="10853" actId="47"/>
          <pc:sldLayoutMkLst>
            <pc:docMk/>
            <pc:sldMasterMk cId="1014027371" sldId="2147483673"/>
            <pc:sldLayoutMk cId="1938903803" sldId="2147483681"/>
          </pc:sldLayoutMkLst>
        </pc:sldLayoutChg>
        <pc:sldLayoutChg chg="del">
          <pc:chgData name="Myrvag, Oda" userId="a8cbc5d5-a60f-469f-af81-81e559ffaccc" providerId="ADAL" clId="{81613F7F-5A23-4E29-8F93-D381433B8D2A}" dt="2022-05-06T17:07:37.816" v="10853" actId="47"/>
          <pc:sldLayoutMkLst>
            <pc:docMk/>
            <pc:sldMasterMk cId="1014027371" sldId="2147483673"/>
            <pc:sldLayoutMk cId="2958246543" sldId="2147483682"/>
          </pc:sldLayoutMkLst>
        </pc:sldLayoutChg>
        <pc:sldLayoutChg chg="del">
          <pc:chgData name="Myrvag, Oda" userId="a8cbc5d5-a60f-469f-af81-81e559ffaccc" providerId="ADAL" clId="{81613F7F-5A23-4E29-8F93-D381433B8D2A}" dt="2022-05-06T17:07:37.816" v="10853" actId="47"/>
          <pc:sldLayoutMkLst>
            <pc:docMk/>
            <pc:sldMasterMk cId="1014027371" sldId="2147483673"/>
            <pc:sldLayoutMk cId="3344015886" sldId="2147483683"/>
          </pc:sldLayoutMkLst>
        </pc:sldLayoutChg>
        <pc:sldLayoutChg chg="del">
          <pc:chgData name="Myrvag, Oda" userId="a8cbc5d5-a60f-469f-af81-81e559ffaccc" providerId="ADAL" clId="{81613F7F-5A23-4E29-8F93-D381433B8D2A}" dt="2022-05-06T17:07:37.816" v="10853" actId="47"/>
          <pc:sldLayoutMkLst>
            <pc:docMk/>
            <pc:sldMasterMk cId="1014027371" sldId="2147483673"/>
            <pc:sldLayoutMk cId="1714722249" sldId="2147483684"/>
          </pc:sldLayoutMkLst>
        </pc:sldLayoutChg>
        <pc:sldLayoutChg chg="del">
          <pc:chgData name="Myrvag, Oda" userId="a8cbc5d5-a60f-469f-af81-81e559ffaccc" providerId="ADAL" clId="{81613F7F-5A23-4E29-8F93-D381433B8D2A}" dt="2022-05-06T17:07:37.816" v="10853" actId="47"/>
          <pc:sldLayoutMkLst>
            <pc:docMk/>
            <pc:sldMasterMk cId="1014027371" sldId="2147483673"/>
            <pc:sldLayoutMk cId="4188271459" sldId="2147483685"/>
          </pc:sldLayoutMkLst>
        </pc:sldLayoutChg>
        <pc:sldLayoutChg chg="del">
          <pc:chgData name="Myrvag, Oda" userId="a8cbc5d5-a60f-469f-af81-81e559ffaccc" providerId="ADAL" clId="{81613F7F-5A23-4E29-8F93-D381433B8D2A}" dt="2022-05-06T17:07:37.816" v="10853" actId="47"/>
          <pc:sldLayoutMkLst>
            <pc:docMk/>
            <pc:sldMasterMk cId="1014027371" sldId="2147483673"/>
            <pc:sldLayoutMk cId="1819475147" sldId="2147483686"/>
          </pc:sldLayoutMkLst>
        </pc:sldLayoutChg>
      </pc:sldMasterChg>
      <pc:sldMasterChg chg="addSp delSp modSp del mod delSldLayout">
        <pc:chgData name="Myrvag, Oda" userId="a8cbc5d5-a60f-469f-af81-81e559ffaccc" providerId="ADAL" clId="{81613F7F-5A23-4E29-8F93-D381433B8D2A}" dt="2022-05-06T16:30:28.587" v="7120" actId="47"/>
        <pc:sldMasterMkLst>
          <pc:docMk/>
          <pc:sldMasterMk cId="2516391979" sldId="2147483673"/>
        </pc:sldMasterMkLst>
        <pc:spChg chg="mod">
          <ac:chgData name="Myrvag, Oda" userId="a8cbc5d5-a60f-469f-af81-81e559ffaccc" providerId="ADAL" clId="{81613F7F-5A23-4E29-8F93-D381433B8D2A}" dt="2022-05-06T16:03:21.816" v="4923" actId="948"/>
          <ac:spMkLst>
            <pc:docMk/>
            <pc:sldMasterMk cId="2516391979" sldId="2147483673"/>
            <ac:spMk id="2" creationId="{00000000-0000-0000-0000-000000000000}"/>
          </ac:spMkLst>
        </pc:spChg>
        <pc:spChg chg="add del mod modVis">
          <ac:chgData name="Myrvag, Oda" userId="a8cbc5d5-a60f-469f-af81-81e559ffaccc" providerId="ADAL" clId="{81613F7F-5A23-4E29-8F93-D381433B8D2A}" dt="2022-05-06T16:03:21.871" v="4977"/>
          <ac:spMkLst>
            <pc:docMk/>
            <pc:sldMasterMk cId="2516391979" sldId="2147483673"/>
            <ac:spMk id="5" creationId="{992D06A9-D748-4664-8FD6-8E249F285AE2}"/>
          </ac:spMkLst>
        </pc:spChg>
        <pc:graphicFrameChg chg="add mod ord modVis">
          <ac:chgData name="Myrvag, Oda" userId="a8cbc5d5-a60f-469f-af81-81e559ffaccc" providerId="ADAL" clId="{81613F7F-5A23-4E29-8F93-D381433B8D2A}" dt="2022-05-06T16:03:21.892" v="4992"/>
          <ac:graphicFrameMkLst>
            <pc:docMk/>
            <pc:sldMasterMk cId="2516391979" sldId="2147483673"/>
            <ac:graphicFrameMk id="8" creationId="{0023E4BD-3898-40BC-9A18-C3ED6968777B}"/>
          </ac:graphicFrameMkLst>
        </pc:graphicFrameChg>
        <pc:sldLayoutChg chg="del">
          <pc:chgData name="Myrvag, Oda" userId="a8cbc5d5-a60f-469f-af81-81e559ffaccc" providerId="ADAL" clId="{81613F7F-5A23-4E29-8F93-D381433B8D2A}" dt="2022-05-06T16:30:28.587" v="7120" actId="47"/>
          <pc:sldLayoutMkLst>
            <pc:docMk/>
            <pc:sldMasterMk cId="2516391979" sldId="2147483673"/>
            <pc:sldLayoutMk cId="2746031185" sldId="2147483674"/>
          </pc:sldLayoutMkLst>
        </pc:sldLayoutChg>
        <pc:sldLayoutChg chg="del">
          <pc:chgData name="Myrvag, Oda" userId="a8cbc5d5-a60f-469f-af81-81e559ffaccc" providerId="ADAL" clId="{81613F7F-5A23-4E29-8F93-D381433B8D2A}" dt="2022-05-06T16:30:28.587" v="7120" actId="47"/>
          <pc:sldLayoutMkLst>
            <pc:docMk/>
            <pc:sldMasterMk cId="2516391979" sldId="2147483673"/>
            <pc:sldLayoutMk cId="1181235079" sldId="2147483675"/>
          </pc:sldLayoutMkLst>
        </pc:sldLayoutChg>
        <pc:sldLayoutChg chg="del">
          <pc:chgData name="Myrvag, Oda" userId="a8cbc5d5-a60f-469f-af81-81e559ffaccc" providerId="ADAL" clId="{81613F7F-5A23-4E29-8F93-D381433B8D2A}" dt="2022-05-06T16:30:28.587" v="7120" actId="47"/>
          <pc:sldLayoutMkLst>
            <pc:docMk/>
            <pc:sldMasterMk cId="2516391979" sldId="2147483673"/>
            <pc:sldLayoutMk cId="2623305973" sldId="2147483676"/>
          </pc:sldLayoutMkLst>
        </pc:sldLayoutChg>
        <pc:sldLayoutChg chg="del">
          <pc:chgData name="Myrvag, Oda" userId="a8cbc5d5-a60f-469f-af81-81e559ffaccc" providerId="ADAL" clId="{81613F7F-5A23-4E29-8F93-D381433B8D2A}" dt="2022-05-06T16:30:28.587" v="7120" actId="47"/>
          <pc:sldLayoutMkLst>
            <pc:docMk/>
            <pc:sldMasterMk cId="2516391979" sldId="2147483673"/>
            <pc:sldLayoutMk cId="4028626109" sldId="2147483677"/>
          </pc:sldLayoutMkLst>
        </pc:sldLayoutChg>
        <pc:sldLayoutChg chg="del">
          <pc:chgData name="Myrvag, Oda" userId="a8cbc5d5-a60f-469f-af81-81e559ffaccc" providerId="ADAL" clId="{81613F7F-5A23-4E29-8F93-D381433B8D2A}" dt="2022-05-06T16:30:28.587" v="7120" actId="47"/>
          <pc:sldLayoutMkLst>
            <pc:docMk/>
            <pc:sldMasterMk cId="2516391979" sldId="2147483673"/>
            <pc:sldLayoutMk cId="2315900496" sldId="2147483678"/>
          </pc:sldLayoutMkLst>
        </pc:sldLayoutChg>
        <pc:sldLayoutChg chg="del">
          <pc:chgData name="Myrvag, Oda" userId="a8cbc5d5-a60f-469f-af81-81e559ffaccc" providerId="ADAL" clId="{81613F7F-5A23-4E29-8F93-D381433B8D2A}" dt="2022-05-06T16:30:28.587" v="7120" actId="47"/>
          <pc:sldLayoutMkLst>
            <pc:docMk/>
            <pc:sldMasterMk cId="2516391979" sldId="2147483673"/>
            <pc:sldLayoutMk cId="3587316304" sldId="2147483679"/>
          </pc:sldLayoutMkLst>
        </pc:sldLayoutChg>
        <pc:sldLayoutChg chg="del">
          <pc:chgData name="Myrvag, Oda" userId="a8cbc5d5-a60f-469f-af81-81e559ffaccc" providerId="ADAL" clId="{81613F7F-5A23-4E29-8F93-D381433B8D2A}" dt="2022-05-06T16:30:28.587" v="7120" actId="47"/>
          <pc:sldLayoutMkLst>
            <pc:docMk/>
            <pc:sldMasterMk cId="2516391979" sldId="2147483673"/>
            <pc:sldLayoutMk cId="4071395783" sldId="2147483680"/>
          </pc:sldLayoutMkLst>
        </pc:sldLayoutChg>
        <pc:sldLayoutChg chg="del">
          <pc:chgData name="Myrvag, Oda" userId="a8cbc5d5-a60f-469f-af81-81e559ffaccc" providerId="ADAL" clId="{81613F7F-5A23-4E29-8F93-D381433B8D2A}" dt="2022-05-06T16:30:28.587" v="7120" actId="47"/>
          <pc:sldLayoutMkLst>
            <pc:docMk/>
            <pc:sldMasterMk cId="2516391979" sldId="2147483673"/>
            <pc:sldLayoutMk cId="2525894976" sldId="2147483681"/>
          </pc:sldLayoutMkLst>
        </pc:sldLayoutChg>
        <pc:sldLayoutChg chg="del">
          <pc:chgData name="Myrvag, Oda" userId="a8cbc5d5-a60f-469f-af81-81e559ffaccc" providerId="ADAL" clId="{81613F7F-5A23-4E29-8F93-D381433B8D2A}" dt="2022-05-06T16:30:28.587" v="7120" actId="47"/>
          <pc:sldLayoutMkLst>
            <pc:docMk/>
            <pc:sldMasterMk cId="2516391979" sldId="2147483673"/>
            <pc:sldLayoutMk cId="893134331" sldId="2147483682"/>
          </pc:sldLayoutMkLst>
        </pc:sldLayoutChg>
        <pc:sldLayoutChg chg="del">
          <pc:chgData name="Myrvag, Oda" userId="a8cbc5d5-a60f-469f-af81-81e559ffaccc" providerId="ADAL" clId="{81613F7F-5A23-4E29-8F93-D381433B8D2A}" dt="2022-05-06T16:30:28.587" v="7120" actId="47"/>
          <pc:sldLayoutMkLst>
            <pc:docMk/>
            <pc:sldMasterMk cId="2516391979" sldId="2147483673"/>
            <pc:sldLayoutMk cId="1074732700" sldId="2147483683"/>
          </pc:sldLayoutMkLst>
        </pc:sldLayoutChg>
        <pc:sldLayoutChg chg="del">
          <pc:chgData name="Myrvag, Oda" userId="a8cbc5d5-a60f-469f-af81-81e559ffaccc" providerId="ADAL" clId="{81613F7F-5A23-4E29-8F93-D381433B8D2A}" dt="2022-05-06T16:30:28.587" v="7120" actId="47"/>
          <pc:sldLayoutMkLst>
            <pc:docMk/>
            <pc:sldMasterMk cId="2516391979" sldId="2147483673"/>
            <pc:sldLayoutMk cId="1646210787" sldId="2147483684"/>
          </pc:sldLayoutMkLst>
        </pc:sldLayoutChg>
        <pc:sldLayoutChg chg="del">
          <pc:chgData name="Myrvag, Oda" userId="a8cbc5d5-a60f-469f-af81-81e559ffaccc" providerId="ADAL" clId="{81613F7F-5A23-4E29-8F93-D381433B8D2A}" dt="2022-05-06T16:30:28.587" v="7120" actId="47"/>
          <pc:sldLayoutMkLst>
            <pc:docMk/>
            <pc:sldMasterMk cId="2516391979" sldId="2147483673"/>
            <pc:sldLayoutMk cId="3160531149" sldId="2147483685"/>
          </pc:sldLayoutMkLst>
        </pc:sldLayoutChg>
        <pc:sldLayoutChg chg="del">
          <pc:chgData name="Myrvag, Oda" userId="a8cbc5d5-a60f-469f-af81-81e559ffaccc" providerId="ADAL" clId="{81613F7F-5A23-4E29-8F93-D381433B8D2A}" dt="2022-05-06T16:30:28.587" v="7120" actId="47"/>
          <pc:sldLayoutMkLst>
            <pc:docMk/>
            <pc:sldMasterMk cId="2516391979" sldId="2147483673"/>
            <pc:sldLayoutMk cId="684756446" sldId="2147483686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A4BD99-97BB-44B6-BCF1-3F8AA7ACBC93}" type="datetimeFigureOut">
              <a:rPr lang="nb-NO" smtClean="0"/>
              <a:t>12.05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C1D193-156D-49E0-8F8B-B7BDA735AE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966841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fo.infocaption.com/36.guide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dfo.infocaption.com/316.guide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132450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700"/>
              <a:t>Oda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6800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Od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487652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Od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462615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800"/>
              <a:t>Od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801929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Gøril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3559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800"/>
              <a:t>Gøril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680508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Gøril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44621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Gørild</a:t>
            </a:r>
          </a:p>
          <a:p>
            <a:endParaRPr lang="nb-NO"/>
          </a:p>
          <a:p>
            <a:r>
              <a:rPr lang="nb-NO" sz="1200"/>
              <a:t>Lenker til systemvideoer fra DFØ</a:t>
            </a:r>
            <a:br>
              <a:rPr lang="nb-NO" sz="1200"/>
            </a:br>
            <a:endParaRPr lang="nb-NO" sz="1200">
              <a:hlinkClick r:id="rId3"/>
            </a:endParaRPr>
          </a:p>
          <a:p>
            <a:pPr marL="0" indent="0">
              <a:buNone/>
            </a:pPr>
            <a:r>
              <a:rPr lang="nb-NO" sz="1200">
                <a:hlinkClick r:id="rId3"/>
              </a:rPr>
              <a:t>Registrere salgsordre i Unit4 ERP</a:t>
            </a:r>
          </a:p>
          <a:p>
            <a:pPr marL="0" indent="0">
              <a:buNone/>
            </a:pPr>
            <a:r>
              <a:rPr lang="nb-NO" sz="1200">
                <a:hlinkClick r:id="rId4"/>
              </a:rPr>
              <a:t>Opprette kunde på flyt </a:t>
            </a:r>
            <a:endParaRPr lang="nb-NO" sz="1200"/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578366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984517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525787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672942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78637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712208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8395199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6829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76362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5761583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7857695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1293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4980310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98249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7379069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0208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5" Type="http://schemas.openxmlformats.org/officeDocument/2006/relationships/image" Target="../media/image12.png"/><Relationship Id="rId4" Type="http://schemas.openxmlformats.org/officeDocument/2006/relationships/image" Target="../media/image4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2.xml"/><Relationship Id="rId7" Type="http://schemas.openxmlformats.org/officeDocument/2006/relationships/hyperlink" Target="https://universityofbergen.sharepoint.com/:x:/s/KvalitetsrammeverkokonomioglonnBOTT/EVbi5tjXwZRIvgr3bbcbdL8Bl1sh638ZWtNqXcB_SnlMYQ?e=klKJDQ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hyperlink" Target="https://universityofbergen.sharepoint.com/:b:/s/KvalitetsrammeverkokonomioglonnBOTT/EcbeGUfwUydHvMnnAKjrZZEB1iEgha6Nlgx9nN72EwwtIg?e=veTUGx" TargetMode="External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3.xml"/><Relationship Id="rId7" Type="http://schemas.openxmlformats.org/officeDocument/2006/relationships/hyperlink" Target="https://universityofbergen.sharepoint.com/:x:/s/KvalitetsrammeverkokonomioglonnBOTT/EVbi5tjXwZRIvgr3bbcbdL8Bl1sh638ZWtNqXcB_SnlMYQ?e=klKJDQ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hyperlink" Target="https://universityofbergen.sharepoint.com/:b:/s/KvalitetsrammeverkokonomioglonnBOTT/EcMgS74zWtlNvhrUxgSNiBABSLCZgAYgO7PC3bv2wx6cIA?e=Xr6h8b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hyperlink" Target="https://universityofbergen.sharepoint.com/:x:/s/KvalitetsrammeverkokonomioglonnBOTT/EVbi5tjXwZRIvgr3bbcbdL8Bl1sh638ZWtNqXcB_SnlMYQ?e=klKJDQ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0EA55B1-196C-4B07-BBE4-22EFD2EF5F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608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0EA55B1-196C-4B07-BBE4-22EFD2EF5F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3BC4CD2-6D04-4748-B341-6DA513C6D29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nb-NO"/>
              <a:t>Salgsordreoppret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9557A6-CE53-4DED-8332-20D84584694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/>
              <a:t>11.05.22 | BOTT ØL Innføring</a:t>
            </a:r>
          </a:p>
        </p:txBody>
      </p:sp>
    </p:spTree>
    <p:extLst>
      <p:ext uri="{BB962C8B-B14F-4D97-AF65-F5344CB8AC3E}">
        <p14:creationId xmlns:p14="http://schemas.microsoft.com/office/powerpoint/2010/main" val="39112519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55245AD-1EC7-44A7-AD89-01FED25E94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404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55245AD-1EC7-44A7-AD89-01FED25E94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BBEF4AB-3737-4E34-BD51-2BDB17B15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956288"/>
          </a:xfrm>
        </p:spPr>
        <p:txBody>
          <a:bodyPr vert="horz"/>
          <a:lstStyle/>
          <a:p>
            <a:r>
              <a:rPr lang="nb-NO" sz="2800"/>
              <a:t>Hva blir endringene for rolleinnehaveren sammenlignet med dagens prosess?</a:t>
            </a:r>
          </a:p>
        </p:txBody>
      </p:sp>
      <p:sp>
        <p:nvSpPr>
          <p:cNvPr id="17" name="Rektangel 24">
            <a:extLst>
              <a:ext uri="{FF2B5EF4-FFF2-40B4-BE49-F238E27FC236}">
                <a16:creationId xmlns:a16="http://schemas.microsoft.com/office/drawing/2014/main" id="{92749575-8506-4DEC-B9AA-99B896143FBC}"/>
              </a:ext>
            </a:extLst>
          </p:cNvPr>
          <p:cNvSpPr/>
          <p:nvPr/>
        </p:nvSpPr>
        <p:spPr>
          <a:xfrm>
            <a:off x="1983716" y="1920377"/>
            <a:ext cx="2577739" cy="1606521"/>
          </a:xfrm>
          <a:prstGeom prst="homePlate">
            <a:avLst>
              <a:gd name="adj" fmla="val 2452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200">
                <a:solidFill>
                  <a:schemeClr val="bg1"/>
                </a:solidFill>
                <a:latin typeface="Arial"/>
              </a:rPr>
              <a:t>Fakturaansvarlig på fakultet/institutt som får rollen </a:t>
            </a:r>
            <a:r>
              <a:rPr lang="nb-NO" sz="1200" b="1">
                <a:solidFill>
                  <a:schemeClr val="bg1"/>
                </a:solidFill>
                <a:latin typeface="Arial"/>
              </a:rPr>
              <a:t>salgsordreoppretter</a:t>
            </a:r>
            <a:r>
              <a:rPr lang="nb-NO" sz="1200">
                <a:solidFill>
                  <a:schemeClr val="bg1"/>
                </a:solidFill>
                <a:latin typeface="Arial"/>
              </a:rPr>
              <a:t> vil få utvidet ansvar i forbindelse med oppretting av salgsordre og kreditnota</a:t>
            </a:r>
            <a:endParaRPr lang="nb-NO" sz="1400">
              <a:solidFill>
                <a:schemeClr val="bg1"/>
              </a:solidFill>
            </a:endParaRPr>
          </a:p>
        </p:txBody>
      </p:sp>
      <p:sp>
        <p:nvSpPr>
          <p:cNvPr id="20" name="Rektangel 24">
            <a:extLst>
              <a:ext uri="{FF2B5EF4-FFF2-40B4-BE49-F238E27FC236}">
                <a16:creationId xmlns:a16="http://schemas.microsoft.com/office/drawing/2014/main" id="{8DB7B6C3-14BB-412A-A75F-811803A9DE92}"/>
              </a:ext>
            </a:extLst>
          </p:cNvPr>
          <p:cNvSpPr/>
          <p:nvPr/>
        </p:nvSpPr>
        <p:spPr>
          <a:xfrm>
            <a:off x="4657166" y="1924591"/>
            <a:ext cx="6575513" cy="513806"/>
          </a:xfrm>
          <a:prstGeom prst="rect">
            <a:avLst/>
          </a:prstGeom>
          <a:solidFill>
            <a:srgbClr val="B6C8E9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50" b="1">
                <a:solidFill>
                  <a:schemeClr val="tx1"/>
                </a:solidFill>
                <a:latin typeface="Arial"/>
              </a:rPr>
              <a:t>Registrering av salgsordre i Unit4 ERP</a:t>
            </a:r>
            <a:r>
              <a:rPr lang="nb-NO" sz="1150">
                <a:solidFill>
                  <a:schemeClr val="tx1"/>
                </a:solidFill>
                <a:latin typeface="Arial"/>
              </a:rPr>
              <a:t>: Istedenfor å fylle ut fakturagrunnlagsskjema utenfor systemløsningen og sende dette til en salgsordreoppretter sentralt, registreres salgsordren direkte i Unit4 ERP. </a:t>
            </a:r>
          </a:p>
        </p:txBody>
      </p:sp>
      <p:sp>
        <p:nvSpPr>
          <p:cNvPr id="22" name="Rektangel 24">
            <a:extLst>
              <a:ext uri="{FF2B5EF4-FFF2-40B4-BE49-F238E27FC236}">
                <a16:creationId xmlns:a16="http://schemas.microsoft.com/office/drawing/2014/main" id="{CB2C523B-F598-41F8-9EA3-1F2861C6328C}"/>
              </a:ext>
            </a:extLst>
          </p:cNvPr>
          <p:cNvSpPr/>
          <p:nvPr/>
        </p:nvSpPr>
        <p:spPr>
          <a:xfrm>
            <a:off x="4657166" y="2464626"/>
            <a:ext cx="6575513" cy="513806"/>
          </a:xfrm>
          <a:prstGeom prst="rect">
            <a:avLst/>
          </a:prstGeom>
          <a:solidFill>
            <a:srgbClr val="B6C8E9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/>
            <a:r>
              <a:rPr lang="nb-NO" sz="1150" b="1">
                <a:solidFill>
                  <a:schemeClr val="tx1"/>
                </a:solidFill>
                <a:latin typeface="Arial"/>
              </a:rPr>
              <a:t>Ansvarlig for å registrere salgsordre på vegne av andre fakturaansvarlige: </a:t>
            </a:r>
            <a:r>
              <a:rPr lang="nb-NO" sz="1150">
                <a:solidFill>
                  <a:schemeClr val="tx1"/>
                </a:solidFill>
                <a:latin typeface="Arial"/>
              </a:rPr>
              <a:t>Salgsordreoppretter vil motta fakturagrunnlagsskjema fra andre fakturansvarlige på ved sin enhet og være ansvarlige for å registrere disse i Unit4 ERP. </a:t>
            </a:r>
          </a:p>
        </p:txBody>
      </p:sp>
      <p:sp>
        <p:nvSpPr>
          <p:cNvPr id="23" name="Rektangel 24">
            <a:extLst>
              <a:ext uri="{FF2B5EF4-FFF2-40B4-BE49-F238E27FC236}">
                <a16:creationId xmlns:a16="http://schemas.microsoft.com/office/drawing/2014/main" id="{9E446340-5E6B-48FD-9340-3D470DA2E5E1}"/>
              </a:ext>
            </a:extLst>
          </p:cNvPr>
          <p:cNvSpPr/>
          <p:nvPr/>
        </p:nvSpPr>
        <p:spPr>
          <a:xfrm>
            <a:off x="4657166" y="3015298"/>
            <a:ext cx="6575513" cy="513806"/>
          </a:xfrm>
          <a:prstGeom prst="rect">
            <a:avLst/>
          </a:prstGeom>
          <a:solidFill>
            <a:srgbClr val="B6C8E9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/>
            <a:r>
              <a:rPr lang="nb-NO" sz="1150" b="1">
                <a:solidFill>
                  <a:schemeClr val="tx1"/>
                </a:solidFill>
                <a:latin typeface="Arial"/>
              </a:rPr>
              <a:t>Kompetanse</a:t>
            </a:r>
            <a:r>
              <a:rPr lang="nb-NO" sz="1150">
                <a:solidFill>
                  <a:schemeClr val="tx1"/>
                </a:solidFill>
                <a:latin typeface="Arial"/>
              </a:rPr>
              <a:t>: Rollen vil kreve mer inngående systemkompetanse i Unit4 ERP</a:t>
            </a: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EC24E5F3-5126-4545-BDE3-B3F42F579DF2}"/>
              </a:ext>
            </a:extLst>
          </p:cNvPr>
          <p:cNvSpPr/>
          <p:nvPr/>
        </p:nvSpPr>
        <p:spPr>
          <a:xfrm>
            <a:off x="4668740" y="4326710"/>
            <a:ext cx="6563939" cy="513806"/>
          </a:xfrm>
          <a:prstGeom prst="rect">
            <a:avLst/>
          </a:prstGeom>
          <a:solidFill>
            <a:srgbClr val="B6C8E9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50" b="1">
                <a:solidFill>
                  <a:schemeClr val="tx1"/>
                </a:solidFill>
                <a:latin typeface="Arial"/>
              </a:rPr>
              <a:t>Oppfølging av fakturaer og kunder: </a:t>
            </a:r>
            <a:r>
              <a:rPr lang="nb-NO" sz="1150">
                <a:solidFill>
                  <a:schemeClr val="tx1"/>
                </a:solidFill>
                <a:latin typeface="Arial"/>
              </a:rPr>
              <a:t>Fakturaansvarlig vil ha ansvaret for å følge opp forfalte krav for de fakturaene vedkommende er saksbehandler for</a:t>
            </a:r>
          </a:p>
        </p:txBody>
      </p:sp>
      <p:sp>
        <p:nvSpPr>
          <p:cNvPr id="26" name="Rektangel 24">
            <a:extLst>
              <a:ext uri="{FF2B5EF4-FFF2-40B4-BE49-F238E27FC236}">
                <a16:creationId xmlns:a16="http://schemas.microsoft.com/office/drawing/2014/main" id="{C5093BA7-8369-42B2-9ECF-A098EBEE7830}"/>
              </a:ext>
            </a:extLst>
          </p:cNvPr>
          <p:cNvSpPr/>
          <p:nvPr/>
        </p:nvSpPr>
        <p:spPr>
          <a:xfrm>
            <a:off x="4668741" y="3752249"/>
            <a:ext cx="6563939" cy="513806"/>
          </a:xfrm>
          <a:prstGeom prst="rect">
            <a:avLst/>
          </a:prstGeom>
          <a:solidFill>
            <a:srgbClr val="B6C8E9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50" b="1">
                <a:solidFill>
                  <a:schemeClr val="tx1"/>
                </a:solidFill>
                <a:latin typeface="Arial"/>
              </a:rPr>
              <a:t>Kundeopprettelse</a:t>
            </a:r>
            <a:r>
              <a:rPr lang="nb-NO" sz="1150">
                <a:solidFill>
                  <a:schemeClr val="tx1"/>
                </a:solidFill>
                <a:latin typeface="Arial"/>
              </a:rPr>
              <a:t>: Dersom det er behov for å opprette en ny kunde eller endre en eksisterende kunde, har fakturaansvarlig ansvar for å registrere denne informasjon i Unit4 ERP og sende til godkjenning</a:t>
            </a:r>
          </a:p>
        </p:txBody>
      </p:sp>
      <p:sp>
        <p:nvSpPr>
          <p:cNvPr id="27" name="Rektangel 24">
            <a:extLst>
              <a:ext uri="{FF2B5EF4-FFF2-40B4-BE49-F238E27FC236}">
                <a16:creationId xmlns:a16="http://schemas.microsoft.com/office/drawing/2014/main" id="{C38CA3AA-D2EC-4A2D-A9B6-A6A84B7D3BC9}"/>
              </a:ext>
            </a:extLst>
          </p:cNvPr>
          <p:cNvSpPr/>
          <p:nvPr/>
        </p:nvSpPr>
        <p:spPr>
          <a:xfrm>
            <a:off x="4668740" y="4903509"/>
            <a:ext cx="6563939" cy="513806"/>
          </a:xfrm>
          <a:prstGeom prst="rect">
            <a:avLst/>
          </a:prstGeom>
          <a:solidFill>
            <a:srgbClr val="B6C8E9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50" b="1">
                <a:solidFill>
                  <a:schemeClr val="tx1"/>
                </a:solidFill>
                <a:latin typeface="Arial"/>
              </a:rPr>
              <a:t>Systemtilgang:</a:t>
            </a:r>
            <a:r>
              <a:rPr lang="nb-NO" sz="1150">
                <a:solidFill>
                  <a:schemeClr val="tx1"/>
                </a:solidFill>
                <a:latin typeface="Arial"/>
              </a:rPr>
              <a:t> Må bruke modulen kunder og salg i Unit4 ERP for kunderegistrering og oppfølging av faktura</a:t>
            </a:r>
          </a:p>
        </p:txBody>
      </p:sp>
      <p:sp>
        <p:nvSpPr>
          <p:cNvPr id="28" name="Rektangel 24">
            <a:extLst>
              <a:ext uri="{FF2B5EF4-FFF2-40B4-BE49-F238E27FC236}">
                <a16:creationId xmlns:a16="http://schemas.microsoft.com/office/drawing/2014/main" id="{82B662D1-7B61-4289-9B33-8E8AD0FCA795}"/>
              </a:ext>
            </a:extLst>
          </p:cNvPr>
          <p:cNvSpPr/>
          <p:nvPr/>
        </p:nvSpPr>
        <p:spPr>
          <a:xfrm>
            <a:off x="4668740" y="5468760"/>
            <a:ext cx="6563939" cy="513806"/>
          </a:xfrm>
          <a:prstGeom prst="rect">
            <a:avLst/>
          </a:prstGeom>
          <a:solidFill>
            <a:srgbClr val="B6C8E9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50" b="1">
                <a:solidFill>
                  <a:schemeClr val="tx1"/>
                </a:solidFill>
                <a:latin typeface="Arial"/>
              </a:rPr>
              <a:t>Fakturagrunnlagsskjema: </a:t>
            </a:r>
            <a:r>
              <a:rPr lang="nb-NO" sz="1150">
                <a:solidFill>
                  <a:schemeClr val="tx1"/>
                </a:solidFill>
                <a:latin typeface="Arial"/>
              </a:rPr>
              <a:t>Det stilles krav til at fakturaansvarlig fyller ut et fakturagrunnlagsskjema som er mer omfattende enn skjemaet NTNU har i dag </a:t>
            </a:r>
          </a:p>
        </p:txBody>
      </p:sp>
      <p:sp>
        <p:nvSpPr>
          <p:cNvPr id="39" name="Rektangel 24">
            <a:extLst>
              <a:ext uri="{FF2B5EF4-FFF2-40B4-BE49-F238E27FC236}">
                <a16:creationId xmlns:a16="http://schemas.microsoft.com/office/drawing/2014/main" id="{D209756A-4082-4F75-B878-F4EF48B8EECC}"/>
              </a:ext>
            </a:extLst>
          </p:cNvPr>
          <p:cNvSpPr/>
          <p:nvPr/>
        </p:nvSpPr>
        <p:spPr>
          <a:xfrm>
            <a:off x="1983716" y="3752250"/>
            <a:ext cx="2577739" cy="2230316"/>
          </a:xfrm>
          <a:prstGeom prst="homePlate">
            <a:avLst>
              <a:gd name="adj" fmla="val 2452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200">
                <a:solidFill>
                  <a:schemeClr val="bg1"/>
                </a:solidFill>
                <a:latin typeface="Arial"/>
              </a:rPr>
              <a:t>Rollen </a:t>
            </a:r>
            <a:r>
              <a:rPr lang="nb-NO" sz="1200" b="1">
                <a:solidFill>
                  <a:schemeClr val="bg1"/>
                </a:solidFill>
                <a:latin typeface="Arial"/>
              </a:rPr>
              <a:t>fakturaansvarlig</a:t>
            </a:r>
            <a:r>
              <a:rPr lang="nb-NO" sz="1200">
                <a:solidFill>
                  <a:schemeClr val="bg1"/>
                </a:solidFill>
                <a:latin typeface="Arial"/>
              </a:rPr>
              <a:t> som beskrives i BOTT har et bredere ansvarsområde enn en fakturaansvarlig på NTNU i dag</a:t>
            </a:r>
            <a:endParaRPr lang="nb-NO" sz="1000"/>
          </a:p>
        </p:txBody>
      </p:sp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2E51EE4E-030A-44D7-8B98-F5A6091A842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293" y="4022762"/>
            <a:ext cx="1315652" cy="1395389"/>
          </a:xfrm>
          <a:prstGeom prst="rect">
            <a:avLst/>
          </a:prstGeom>
        </p:spPr>
      </p:pic>
      <p:pic>
        <p:nvPicPr>
          <p:cNvPr id="18" name="Picture 17" descr="Icon&#10;&#10;Description automatically generated">
            <a:extLst>
              <a:ext uri="{FF2B5EF4-FFF2-40B4-BE49-F238E27FC236}">
                <a16:creationId xmlns:a16="http://schemas.microsoft.com/office/drawing/2014/main" id="{34F86460-984B-4361-8693-B541563C1CE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197" y="1927311"/>
            <a:ext cx="1316983" cy="139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34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D4DA79-1E04-4E88-9159-6BCF2AFF4E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3263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D4DA79-1E04-4E88-9159-6BCF2AFF4E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F58A632-28E7-45A1-B685-9B3E7763ED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648512"/>
          </a:xfrm>
        </p:spPr>
        <p:txBody>
          <a:bodyPr vert="horz"/>
          <a:lstStyle/>
          <a:p>
            <a:r>
              <a:rPr lang="nb-NO" sz="3600"/>
              <a:t>Unit4 ERP – registrering av salgsord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55628A9-D9C7-4F3B-A43A-2CEA76C8FB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0512" y="1190985"/>
            <a:ext cx="9894771" cy="51012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353276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F7DFD5-FA9B-4780-A56E-0B234AD8B7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4711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F7DFD5-FA9B-4780-A56E-0B234AD8B7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BC26A9-501F-46DF-B352-F1977372ED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</a:t>
            </a:r>
          </a:p>
        </p:txBody>
      </p:sp>
      <p:pic>
        <p:nvPicPr>
          <p:cNvPr id="5" name="Graphic 3" descr="Questions with solid fill">
            <a:extLst>
              <a:ext uri="{FF2B5EF4-FFF2-40B4-BE49-F238E27FC236}">
                <a16:creationId xmlns:a16="http://schemas.microsoft.com/office/drawing/2014/main" id="{901E9E68-4EBE-4C40-8F00-3E5DAAF9C1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58700" y="1764030"/>
            <a:ext cx="3911290" cy="3911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0743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FF7D8EB-2131-4592-9370-859F799886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67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FF7D8EB-2131-4592-9370-859F799886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3FBDE6B-B075-475D-BA20-6525830EE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913007"/>
          </a:xfrm>
        </p:spPr>
        <p:txBody>
          <a:bodyPr vert="horz"/>
          <a:lstStyle/>
          <a:p>
            <a:r>
              <a:rPr lang="nb-NO"/>
              <a:t>Vedleg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8C95744-C167-40AA-A41D-3CFE1F1D6B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97086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EFBA93-B677-4EFC-B307-4978421824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0001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EFBA93-B677-4EFC-B307-497842182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F77DF0D-FB9D-4CF5-9952-BAB22429DF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300" y="166687"/>
            <a:ext cx="11963400" cy="6524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9506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DC944-3C82-4A9C-B636-F99BF654AF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32DA8E-482F-45B2-94E4-437349827D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5E23ABC-F5C9-422A-86D9-D8AF2FC77E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37" y="66675"/>
            <a:ext cx="12049125" cy="672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3782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716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411AF7-242A-46CF-9593-1F4E07B6D4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162C7C-6CAF-46F1-B4E4-AC7FC738A3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10972800" cy="4525963"/>
          </a:xfrm>
        </p:spPr>
        <p:txBody>
          <a:bodyPr>
            <a:normAutofit/>
          </a:bodyPr>
          <a:lstStyle/>
          <a:p>
            <a:pPr>
              <a:buFont typeface="+mj-lt"/>
              <a:buAutoNum type="arabicPeriod"/>
            </a:pPr>
            <a:r>
              <a:rPr lang="nb-NO" sz="1800"/>
              <a:t>Velkommen </a:t>
            </a:r>
          </a:p>
          <a:p>
            <a:pPr>
              <a:buFont typeface="+mj-lt"/>
              <a:buAutoNum type="arabicPeriod"/>
            </a:pPr>
            <a:r>
              <a:rPr lang="nb-NO" sz="1800"/>
              <a:t>Rollens ansvar og arbeidsoppgaver</a:t>
            </a:r>
          </a:p>
          <a:p>
            <a:pPr>
              <a:buFont typeface="+mj-lt"/>
              <a:buAutoNum type="arabicPeriod"/>
            </a:pPr>
            <a:r>
              <a:rPr lang="nb-NO" sz="1800"/>
              <a:t>Fordeler ved å ha salgsordreoppretter-rollen på fakultet</a:t>
            </a:r>
          </a:p>
          <a:p>
            <a:pPr>
              <a:buFont typeface="+mj-lt"/>
              <a:buAutoNum type="arabicPeriod"/>
            </a:pPr>
            <a:r>
              <a:rPr lang="nb-NO" sz="1800"/>
              <a:t>Hva er viktig å tenke på i innmelding i rollen?</a:t>
            </a:r>
          </a:p>
          <a:p>
            <a:pPr>
              <a:buFont typeface="+mj-lt"/>
              <a:buAutoNum type="arabicPeriod"/>
            </a:pPr>
            <a:r>
              <a:rPr lang="nb-NO" sz="1800"/>
              <a:t>Hva blir endringene for rolleinnehaveren sammenlignet med dagens prosess?</a:t>
            </a:r>
          </a:p>
          <a:p>
            <a:pPr>
              <a:buFont typeface="+mj-lt"/>
              <a:buAutoNum type="arabicPeriod"/>
            </a:pPr>
            <a:r>
              <a:rPr lang="nb-NO" sz="1800"/>
              <a:t>Unit4 ERP – registrering av salgsordre</a:t>
            </a:r>
          </a:p>
          <a:p>
            <a:pPr>
              <a:buFont typeface="+mj-lt"/>
              <a:buAutoNum type="arabicPeriod"/>
            </a:pPr>
            <a:r>
              <a:rPr lang="nb-NO" sz="1800"/>
              <a:t>Spørsmål</a:t>
            </a:r>
          </a:p>
          <a:p>
            <a:endParaRPr lang="nb-NO" sz="1800"/>
          </a:p>
          <a:p>
            <a:endParaRPr lang="nb-NO" sz="1800"/>
          </a:p>
          <a:p>
            <a:endParaRPr lang="nb-NO" sz="1800"/>
          </a:p>
        </p:txBody>
      </p:sp>
    </p:spTree>
    <p:extLst>
      <p:ext uri="{BB962C8B-B14F-4D97-AF65-F5344CB8AC3E}">
        <p14:creationId xmlns:p14="http://schemas.microsoft.com/office/powerpoint/2010/main" val="24152001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19AD8-4454-47D3-9550-73230431B3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444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19AD8-4454-47D3-9550-73230431B3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28E54DB-7B99-4AD4-9CE6-ECB99EBDF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Velkomm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71F447-5350-4C9D-8C9E-49F9CE1AD19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nb-NO" sz="2800"/>
              <a:t>Spørsmål?</a:t>
            </a:r>
          </a:p>
          <a:p>
            <a:pPr lvl="1"/>
            <a:r>
              <a:rPr lang="nb-NO" sz="2000"/>
              <a:t>Gå til menti.com</a:t>
            </a:r>
          </a:p>
          <a:p>
            <a:pPr lvl="1"/>
            <a:r>
              <a:rPr lang="nb-NO" sz="2000"/>
              <a:t>Kode: 7013 8272</a:t>
            </a:r>
          </a:p>
        </p:txBody>
      </p:sp>
    </p:spTree>
    <p:extLst>
      <p:ext uri="{BB962C8B-B14F-4D97-AF65-F5344CB8AC3E}">
        <p14:creationId xmlns:p14="http://schemas.microsoft.com/office/powerpoint/2010/main" val="28362901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BF1A55-D745-4454-A212-352D8BBDD4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0386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BF1A55-D745-4454-A212-352D8BBDD4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99A74CF-01A7-4B20-9683-DE8A6968D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956288"/>
          </a:xfrm>
        </p:spPr>
        <p:txBody>
          <a:bodyPr vert="horz"/>
          <a:lstStyle/>
          <a:p>
            <a:r>
              <a:rPr lang="nb-NO" sz="2800"/>
              <a:t>Salgsordreoppretter har ansvar og arbeidsoppgaver i delprosessen «Ordrebehandling»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4D1EA76-B1E1-4178-BDB2-CB02BAC0BFA0}"/>
              </a:ext>
            </a:extLst>
          </p:cNvPr>
          <p:cNvSpPr txBox="1"/>
          <p:nvPr/>
        </p:nvSpPr>
        <p:spPr>
          <a:xfrm>
            <a:off x="385160" y="4272865"/>
            <a:ext cx="261053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Prosessen starter hos </a:t>
            </a:r>
            <a:r>
              <a:rPr lang="nb-NO" sz="1100" b="1"/>
              <a:t>ordremottaker</a:t>
            </a:r>
            <a:r>
              <a:rPr lang="nb-NO" sz="1100"/>
              <a:t> som mottar ordre/avtale og formidler kunde- og ordreinformasjon til fakturaansvarlig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2AEFC-58F3-4ABF-BDCC-D75B324831AF}"/>
              </a:ext>
            </a:extLst>
          </p:cNvPr>
          <p:cNvSpPr txBox="1"/>
          <p:nvPr/>
        </p:nvSpPr>
        <p:spPr>
          <a:xfrm>
            <a:off x="4475400" y="3324986"/>
            <a:ext cx="2757005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/>
              <a:t>Fakturaansvarlig</a:t>
            </a:r>
            <a:r>
              <a:rPr lang="nb-NO" sz="1100"/>
              <a:t> har ansvar for å fullføre ordregrunnlaget i fakturagrunnlagsskjemaet før det sendes videre til salgsordreoppretter for registrering i Unit4 ERP. </a:t>
            </a:r>
          </a:p>
          <a:p>
            <a:endParaRPr lang="nb-NO" sz="1100"/>
          </a:p>
          <a:p>
            <a:r>
              <a:rPr lang="nb-NO" sz="1100"/>
              <a:t>Dersom det må opprettes en ny kunde eller det er behov for å endre en eksisterende kunde, registrerer fakturaansvarlig dette i Unit4 ERP og sender til godkjenning.</a:t>
            </a:r>
          </a:p>
        </p:txBody>
      </p:sp>
      <p:sp>
        <p:nvSpPr>
          <p:cNvPr id="37" name="Freeform 34">
            <a:extLst>
              <a:ext uri="{FF2B5EF4-FFF2-40B4-BE49-F238E27FC236}">
                <a16:creationId xmlns:a16="http://schemas.microsoft.com/office/drawing/2014/main" id="{BCE48509-6C96-4A28-A076-56F52A59C07D}"/>
              </a:ext>
            </a:extLst>
          </p:cNvPr>
          <p:cNvSpPr>
            <a:spLocks noEditPoints="1"/>
          </p:cNvSpPr>
          <p:nvPr/>
        </p:nvSpPr>
        <p:spPr bwMode="auto">
          <a:xfrm>
            <a:off x="3297170" y="4532615"/>
            <a:ext cx="620040" cy="438056"/>
          </a:xfrm>
          <a:custGeom>
            <a:avLst/>
            <a:gdLst>
              <a:gd name="T0" fmla="*/ 65 w 73"/>
              <a:gd name="T1" fmla="*/ 1 h 59"/>
              <a:gd name="T2" fmla="*/ 73 w 73"/>
              <a:gd name="T3" fmla="*/ 46 h 59"/>
              <a:gd name="T4" fmla="*/ 3 w 73"/>
              <a:gd name="T5" fmla="*/ 59 h 59"/>
              <a:gd name="T6" fmla="*/ 0 w 73"/>
              <a:gd name="T7" fmla="*/ 7 h 59"/>
              <a:gd name="T8" fmla="*/ 24 w 73"/>
              <a:gd name="T9" fmla="*/ 4 h 59"/>
              <a:gd name="T10" fmla="*/ 65 w 73"/>
              <a:gd name="T11" fmla="*/ 1 h 59"/>
              <a:gd name="T12" fmla="*/ 34 w 73"/>
              <a:gd name="T13" fmla="*/ 3 h 59"/>
              <a:gd name="T14" fmla="*/ 34 w 73"/>
              <a:gd name="T15" fmla="*/ 3 h 59"/>
              <a:gd name="T16" fmla="*/ 5 w 73"/>
              <a:gd name="T17" fmla="*/ 8 h 59"/>
              <a:gd name="T18" fmla="*/ 28 w 73"/>
              <a:gd name="T19" fmla="*/ 23 h 59"/>
              <a:gd name="T20" fmla="*/ 31 w 73"/>
              <a:gd name="T21" fmla="*/ 23 h 59"/>
              <a:gd name="T22" fmla="*/ 37 w 73"/>
              <a:gd name="T23" fmla="*/ 30 h 59"/>
              <a:gd name="T24" fmla="*/ 50 w 73"/>
              <a:gd name="T25" fmla="*/ 18 h 59"/>
              <a:gd name="T26" fmla="*/ 62 w 73"/>
              <a:gd name="T27" fmla="*/ 6 h 59"/>
              <a:gd name="T28" fmla="*/ 57 w 73"/>
              <a:gd name="T29" fmla="*/ 13 h 59"/>
              <a:gd name="T30" fmla="*/ 47 w 73"/>
              <a:gd name="T31" fmla="*/ 24 h 59"/>
              <a:gd name="T32" fmla="*/ 67 w 73"/>
              <a:gd name="T33" fmla="*/ 39 h 59"/>
              <a:gd name="T34" fmla="*/ 66 w 73"/>
              <a:gd name="T35" fmla="*/ 42 h 59"/>
              <a:gd name="T36" fmla="*/ 45 w 73"/>
              <a:gd name="T37" fmla="*/ 26 h 59"/>
              <a:gd name="T38" fmla="*/ 36 w 73"/>
              <a:gd name="T39" fmla="*/ 34 h 59"/>
              <a:gd name="T40" fmla="*/ 30 w 73"/>
              <a:gd name="T41" fmla="*/ 28 h 59"/>
              <a:gd name="T42" fmla="*/ 7 w 73"/>
              <a:gd name="T43" fmla="*/ 54 h 59"/>
              <a:gd name="T44" fmla="*/ 70 w 73"/>
              <a:gd name="T45" fmla="*/ 43 h 59"/>
              <a:gd name="T46" fmla="*/ 63 w 73"/>
              <a:gd name="T47" fmla="*/ 5 h 59"/>
              <a:gd name="T48" fmla="*/ 5 w 73"/>
              <a:gd name="T49" fmla="*/ 8 h 59"/>
              <a:gd name="T50" fmla="*/ 6 w 73"/>
              <a:gd name="T51" fmla="*/ 50 h 59"/>
              <a:gd name="T52" fmla="*/ 27 w 73"/>
              <a:gd name="T53" fmla="*/ 26 h 59"/>
              <a:gd name="T54" fmla="*/ 3 w 73"/>
              <a:gd name="T55" fmla="*/ 11 h 59"/>
              <a:gd name="T56" fmla="*/ 6 w 73"/>
              <a:gd name="T57" fmla="*/ 50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73" h="59">
                <a:moveTo>
                  <a:pt x="65" y="1"/>
                </a:moveTo>
                <a:cubicBezTo>
                  <a:pt x="67" y="16"/>
                  <a:pt x="69" y="32"/>
                  <a:pt x="73" y="46"/>
                </a:cubicBezTo>
                <a:cubicBezTo>
                  <a:pt x="48" y="49"/>
                  <a:pt x="25" y="52"/>
                  <a:pt x="3" y="59"/>
                </a:cubicBezTo>
                <a:cubicBezTo>
                  <a:pt x="3" y="43"/>
                  <a:pt x="3" y="22"/>
                  <a:pt x="0" y="7"/>
                </a:cubicBezTo>
                <a:cubicBezTo>
                  <a:pt x="5" y="3"/>
                  <a:pt x="14" y="4"/>
                  <a:pt x="24" y="4"/>
                </a:cubicBezTo>
                <a:cubicBezTo>
                  <a:pt x="36" y="3"/>
                  <a:pt x="54" y="0"/>
                  <a:pt x="65" y="1"/>
                </a:cubicBezTo>
                <a:close/>
                <a:moveTo>
                  <a:pt x="34" y="3"/>
                </a:moveTo>
                <a:cubicBezTo>
                  <a:pt x="34" y="3"/>
                  <a:pt x="34" y="3"/>
                  <a:pt x="34" y="3"/>
                </a:cubicBezTo>
                <a:close/>
                <a:moveTo>
                  <a:pt x="5" y="8"/>
                </a:moveTo>
                <a:cubicBezTo>
                  <a:pt x="14" y="12"/>
                  <a:pt x="21" y="18"/>
                  <a:pt x="28" y="23"/>
                </a:cubicBezTo>
                <a:cubicBezTo>
                  <a:pt x="28" y="24"/>
                  <a:pt x="30" y="23"/>
                  <a:pt x="31" y="23"/>
                </a:cubicBezTo>
                <a:cubicBezTo>
                  <a:pt x="32" y="27"/>
                  <a:pt x="35" y="28"/>
                  <a:pt x="37" y="30"/>
                </a:cubicBezTo>
                <a:cubicBezTo>
                  <a:pt x="41" y="25"/>
                  <a:pt x="46" y="21"/>
                  <a:pt x="50" y="18"/>
                </a:cubicBezTo>
                <a:cubicBezTo>
                  <a:pt x="54" y="14"/>
                  <a:pt x="57" y="8"/>
                  <a:pt x="62" y="6"/>
                </a:cubicBezTo>
                <a:cubicBezTo>
                  <a:pt x="64" y="10"/>
                  <a:pt x="59" y="11"/>
                  <a:pt x="57" y="13"/>
                </a:cubicBezTo>
                <a:cubicBezTo>
                  <a:pt x="53" y="16"/>
                  <a:pt x="50" y="21"/>
                  <a:pt x="47" y="24"/>
                </a:cubicBezTo>
                <a:cubicBezTo>
                  <a:pt x="54" y="29"/>
                  <a:pt x="60" y="34"/>
                  <a:pt x="67" y="39"/>
                </a:cubicBezTo>
                <a:cubicBezTo>
                  <a:pt x="67" y="40"/>
                  <a:pt x="67" y="42"/>
                  <a:pt x="66" y="42"/>
                </a:cubicBezTo>
                <a:cubicBezTo>
                  <a:pt x="59" y="36"/>
                  <a:pt x="52" y="31"/>
                  <a:pt x="45" y="26"/>
                </a:cubicBezTo>
                <a:cubicBezTo>
                  <a:pt x="42" y="29"/>
                  <a:pt x="40" y="33"/>
                  <a:pt x="36" y="34"/>
                </a:cubicBezTo>
                <a:cubicBezTo>
                  <a:pt x="34" y="32"/>
                  <a:pt x="33" y="30"/>
                  <a:pt x="30" y="28"/>
                </a:cubicBezTo>
                <a:cubicBezTo>
                  <a:pt x="22" y="37"/>
                  <a:pt x="13" y="44"/>
                  <a:pt x="7" y="54"/>
                </a:cubicBezTo>
                <a:cubicBezTo>
                  <a:pt x="26" y="49"/>
                  <a:pt x="49" y="47"/>
                  <a:pt x="70" y="43"/>
                </a:cubicBezTo>
                <a:cubicBezTo>
                  <a:pt x="67" y="32"/>
                  <a:pt x="66" y="17"/>
                  <a:pt x="63" y="5"/>
                </a:cubicBezTo>
                <a:cubicBezTo>
                  <a:pt x="43" y="3"/>
                  <a:pt x="22" y="6"/>
                  <a:pt x="5" y="8"/>
                </a:cubicBezTo>
                <a:close/>
                <a:moveTo>
                  <a:pt x="6" y="50"/>
                </a:moveTo>
                <a:cubicBezTo>
                  <a:pt x="12" y="44"/>
                  <a:pt x="20" y="34"/>
                  <a:pt x="27" y="26"/>
                </a:cubicBezTo>
                <a:cubicBezTo>
                  <a:pt x="20" y="20"/>
                  <a:pt x="12" y="15"/>
                  <a:pt x="3" y="11"/>
                </a:cubicBezTo>
                <a:cubicBezTo>
                  <a:pt x="5" y="25"/>
                  <a:pt x="5" y="36"/>
                  <a:pt x="6" y="50"/>
                </a:cubicBezTo>
                <a:close/>
              </a:path>
            </a:pathLst>
          </a:custGeom>
          <a:solidFill>
            <a:srgbClr val="00277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87E1BD9-C4D2-40E8-AB96-A2FE2D1E2D5D}"/>
              </a:ext>
            </a:extLst>
          </p:cNvPr>
          <p:cNvGrpSpPr/>
          <p:nvPr/>
        </p:nvGrpSpPr>
        <p:grpSpPr>
          <a:xfrm>
            <a:off x="7943003" y="4595448"/>
            <a:ext cx="767228" cy="636248"/>
            <a:chOff x="7526338" y="5778500"/>
            <a:chExt cx="406400" cy="371475"/>
          </a:xfrm>
          <a:solidFill>
            <a:srgbClr val="002776"/>
          </a:solidFill>
        </p:grpSpPr>
        <p:sp>
          <p:nvSpPr>
            <p:cNvPr id="39" name="Freeform 413">
              <a:extLst>
                <a:ext uri="{FF2B5EF4-FFF2-40B4-BE49-F238E27FC236}">
                  <a16:creationId xmlns:a16="http://schemas.microsoft.com/office/drawing/2014/main" id="{D29971AD-3E5F-4974-B989-1656D87F9E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26338" y="5778500"/>
              <a:ext cx="406400" cy="371475"/>
            </a:xfrm>
            <a:custGeom>
              <a:avLst/>
              <a:gdLst>
                <a:gd name="T0" fmla="*/ 66 w 69"/>
                <a:gd name="T1" fmla="*/ 6 h 63"/>
                <a:gd name="T2" fmla="*/ 67 w 69"/>
                <a:gd name="T3" fmla="*/ 46 h 63"/>
                <a:gd name="T4" fmla="*/ 64 w 69"/>
                <a:gd name="T5" fmla="*/ 7 h 63"/>
                <a:gd name="T6" fmla="*/ 5 w 69"/>
                <a:gd name="T7" fmla="*/ 6 h 63"/>
                <a:gd name="T8" fmla="*/ 6 w 69"/>
                <a:gd name="T9" fmla="*/ 36 h 63"/>
                <a:gd name="T10" fmla="*/ 20 w 69"/>
                <a:gd name="T11" fmla="*/ 7 h 63"/>
                <a:gd name="T12" fmla="*/ 21 w 69"/>
                <a:gd name="T13" fmla="*/ 15 h 63"/>
                <a:gd name="T14" fmla="*/ 14 w 69"/>
                <a:gd name="T15" fmla="*/ 34 h 63"/>
                <a:gd name="T16" fmla="*/ 12 w 69"/>
                <a:gd name="T17" fmla="*/ 37 h 63"/>
                <a:gd name="T18" fmla="*/ 13 w 69"/>
                <a:gd name="T19" fmla="*/ 30 h 63"/>
                <a:gd name="T20" fmla="*/ 6 w 69"/>
                <a:gd name="T21" fmla="*/ 41 h 63"/>
                <a:gd name="T22" fmla="*/ 54 w 69"/>
                <a:gd name="T23" fmla="*/ 44 h 63"/>
                <a:gd name="T24" fmla="*/ 37 w 69"/>
                <a:gd name="T25" fmla="*/ 46 h 63"/>
                <a:gd name="T26" fmla="*/ 41 w 69"/>
                <a:gd name="T27" fmla="*/ 57 h 63"/>
                <a:gd name="T28" fmla="*/ 48 w 69"/>
                <a:gd name="T29" fmla="*/ 60 h 63"/>
                <a:gd name="T30" fmla="*/ 22 w 69"/>
                <a:gd name="T31" fmla="*/ 62 h 63"/>
                <a:gd name="T32" fmla="*/ 25 w 69"/>
                <a:gd name="T33" fmla="*/ 58 h 63"/>
                <a:gd name="T34" fmla="*/ 33 w 69"/>
                <a:gd name="T35" fmla="*/ 58 h 63"/>
                <a:gd name="T36" fmla="*/ 5 w 69"/>
                <a:gd name="T37" fmla="*/ 48 h 63"/>
                <a:gd name="T38" fmla="*/ 1 w 69"/>
                <a:gd name="T39" fmla="*/ 43 h 63"/>
                <a:gd name="T40" fmla="*/ 2 w 69"/>
                <a:gd name="T41" fmla="*/ 7 h 63"/>
                <a:gd name="T42" fmla="*/ 0 w 69"/>
                <a:gd name="T43" fmla="*/ 4 h 63"/>
                <a:gd name="T44" fmla="*/ 33 w 69"/>
                <a:gd name="T45" fmla="*/ 2 h 63"/>
                <a:gd name="T46" fmla="*/ 66 w 69"/>
                <a:gd name="T47" fmla="*/ 11 h 63"/>
                <a:gd name="T48" fmla="*/ 66 w 69"/>
                <a:gd name="T49" fmla="*/ 11 h 63"/>
                <a:gd name="T50" fmla="*/ 45 w 69"/>
                <a:gd name="T51" fmla="*/ 4 h 63"/>
                <a:gd name="T52" fmla="*/ 64 w 69"/>
                <a:gd name="T53" fmla="*/ 4 h 63"/>
                <a:gd name="T54" fmla="*/ 10 w 69"/>
                <a:gd name="T55" fmla="*/ 44 h 63"/>
                <a:gd name="T56" fmla="*/ 19 w 69"/>
                <a:gd name="T57" fmla="*/ 45 h 63"/>
                <a:gd name="T58" fmla="*/ 18 w 69"/>
                <a:gd name="T59" fmla="*/ 43 h 63"/>
                <a:gd name="T60" fmla="*/ 8 w 69"/>
                <a:gd name="T61" fmla="*/ 34 h 63"/>
                <a:gd name="T62" fmla="*/ 5 w 69"/>
                <a:gd name="T63" fmla="*/ 14 h 63"/>
                <a:gd name="T64" fmla="*/ 5 w 69"/>
                <a:gd name="T65" fmla="*/ 14 h 63"/>
                <a:gd name="T66" fmla="*/ 4 w 69"/>
                <a:gd name="T67" fmla="*/ 17 h 63"/>
                <a:gd name="T68" fmla="*/ 4 w 69"/>
                <a:gd name="T69" fmla="*/ 4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9" h="63">
                  <a:moveTo>
                    <a:pt x="68" y="4"/>
                  </a:moveTo>
                  <a:cubicBezTo>
                    <a:pt x="69" y="6"/>
                    <a:pt x="67" y="4"/>
                    <a:pt x="66" y="6"/>
                  </a:cubicBezTo>
                  <a:cubicBezTo>
                    <a:pt x="68" y="7"/>
                    <a:pt x="68" y="9"/>
                    <a:pt x="68" y="12"/>
                  </a:cubicBezTo>
                  <a:cubicBezTo>
                    <a:pt x="67" y="22"/>
                    <a:pt x="69" y="36"/>
                    <a:pt x="67" y="46"/>
                  </a:cubicBezTo>
                  <a:cubicBezTo>
                    <a:pt x="65" y="45"/>
                    <a:pt x="64" y="41"/>
                    <a:pt x="64" y="38"/>
                  </a:cubicBezTo>
                  <a:cubicBezTo>
                    <a:pt x="63" y="29"/>
                    <a:pt x="63" y="16"/>
                    <a:pt x="64" y="7"/>
                  </a:cubicBezTo>
                  <a:cubicBezTo>
                    <a:pt x="60" y="8"/>
                    <a:pt x="55" y="6"/>
                    <a:pt x="51" y="6"/>
                  </a:cubicBezTo>
                  <a:cubicBezTo>
                    <a:pt x="36" y="4"/>
                    <a:pt x="19" y="6"/>
                    <a:pt x="5" y="6"/>
                  </a:cubicBezTo>
                  <a:cubicBezTo>
                    <a:pt x="5" y="7"/>
                    <a:pt x="7" y="6"/>
                    <a:pt x="7" y="7"/>
                  </a:cubicBezTo>
                  <a:cubicBezTo>
                    <a:pt x="6" y="19"/>
                    <a:pt x="6" y="25"/>
                    <a:pt x="6" y="36"/>
                  </a:cubicBezTo>
                  <a:cubicBezTo>
                    <a:pt x="10" y="29"/>
                    <a:pt x="13" y="21"/>
                    <a:pt x="15" y="13"/>
                  </a:cubicBezTo>
                  <a:cubicBezTo>
                    <a:pt x="17" y="12"/>
                    <a:pt x="17" y="7"/>
                    <a:pt x="20" y="7"/>
                  </a:cubicBezTo>
                  <a:cubicBezTo>
                    <a:pt x="16" y="16"/>
                    <a:pt x="12" y="24"/>
                    <a:pt x="9" y="33"/>
                  </a:cubicBezTo>
                  <a:cubicBezTo>
                    <a:pt x="13" y="28"/>
                    <a:pt x="17" y="21"/>
                    <a:pt x="21" y="15"/>
                  </a:cubicBezTo>
                  <a:cubicBezTo>
                    <a:pt x="22" y="13"/>
                    <a:pt x="23" y="10"/>
                    <a:pt x="25" y="9"/>
                  </a:cubicBezTo>
                  <a:cubicBezTo>
                    <a:pt x="21" y="17"/>
                    <a:pt x="17" y="25"/>
                    <a:pt x="14" y="34"/>
                  </a:cubicBezTo>
                  <a:cubicBezTo>
                    <a:pt x="16" y="33"/>
                    <a:pt x="17" y="29"/>
                    <a:pt x="20" y="27"/>
                  </a:cubicBezTo>
                  <a:cubicBezTo>
                    <a:pt x="17" y="30"/>
                    <a:pt x="16" y="35"/>
                    <a:pt x="12" y="37"/>
                  </a:cubicBezTo>
                  <a:cubicBezTo>
                    <a:pt x="12" y="32"/>
                    <a:pt x="15" y="28"/>
                    <a:pt x="17" y="24"/>
                  </a:cubicBezTo>
                  <a:cubicBezTo>
                    <a:pt x="16" y="25"/>
                    <a:pt x="14" y="27"/>
                    <a:pt x="13" y="30"/>
                  </a:cubicBezTo>
                  <a:cubicBezTo>
                    <a:pt x="10" y="31"/>
                    <a:pt x="9" y="34"/>
                    <a:pt x="8" y="37"/>
                  </a:cubicBezTo>
                  <a:cubicBezTo>
                    <a:pt x="7" y="38"/>
                    <a:pt x="5" y="39"/>
                    <a:pt x="6" y="41"/>
                  </a:cubicBezTo>
                  <a:cubicBezTo>
                    <a:pt x="14" y="42"/>
                    <a:pt x="23" y="42"/>
                    <a:pt x="31" y="42"/>
                  </a:cubicBezTo>
                  <a:cubicBezTo>
                    <a:pt x="39" y="41"/>
                    <a:pt x="46" y="43"/>
                    <a:pt x="54" y="44"/>
                  </a:cubicBezTo>
                  <a:cubicBezTo>
                    <a:pt x="58" y="44"/>
                    <a:pt x="63" y="43"/>
                    <a:pt x="65" y="46"/>
                  </a:cubicBezTo>
                  <a:cubicBezTo>
                    <a:pt x="55" y="48"/>
                    <a:pt x="47" y="46"/>
                    <a:pt x="37" y="46"/>
                  </a:cubicBezTo>
                  <a:cubicBezTo>
                    <a:pt x="35" y="49"/>
                    <a:pt x="36" y="54"/>
                    <a:pt x="37" y="57"/>
                  </a:cubicBezTo>
                  <a:cubicBezTo>
                    <a:pt x="38" y="57"/>
                    <a:pt x="40" y="57"/>
                    <a:pt x="41" y="57"/>
                  </a:cubicBezTo>
                  <a:cubicBezTo>
                    <a:pt x="42" y="58"/>
                    <a:pt x="41" y="58"/>
                    <a:pt x="41" y="60"/>
                  </a:cubicBezTo>
                  <a:cubicBezTo>
                    <a:pt x="43" y="60"/>
                    <a:pt x="45" y="60"/>
                    <a:pt x="48" y="60"/>
                  </a:cubicBezTo>
                  <a:cubicBezTo>
                    <a:pt x="47" y="63"/>
                    <a:pt x="41" y="61"/>
                    <a:pt x="37" y="61"/>
                  </a:cubicBezTo>
                  <a:cubicBezTo>
                    <a:pt x="33" y="62"/>
                    <a:pt x="25" y="62"/>
                    <a:pt x="22" y="62"/>
                  </a:cubicBezTo>
                  <a:cubicBezTo>
                    <a:pt x="25" y="59"/>
                    <a:pt x="31" y="60"/>
                    <a:pt x="35" y="60"/>
                  </a:cubicBezTo>
                  <a:cubicBezTo>
                    <a:pt x="34" y="58"/>
                    <a:pt x="27" y="60"/>
                    <a:pt x="25" y="58"/>
                  </a:cubicBezTo>
                  <a:cubicBezTo>
                    <a:pt x="24" y="56"/>
                    <a:pt x="29" y="58"/>
                    <a:pt x="29" y="56"/>
                  </a:cubicBezTo>
                  <a:cubicBezTo>
                    <a:pt x="29" y="57"/>
                    <a:pt x="31" y="58"/>
                    <a:pt x="33" y="58"/>
                  </a:cubicBezTo>
                  <a:cubicBezTo>
                    <a:pt x="33" y="54"/>
                    <a:pt x="32" y="49"/>
                    <a:pt x="33" y="46"/>
                  </a:cubicBezTo>
                  <a:cubicBezTo>
                    <a:pt x="24" y="46"/>
                    <a:pt x="15" y="47"/>
                    <a:pt x="5" y="48"/>
                  </a:cubicBezTo>
                  <a:cubicBezTo>
                    <a:pt x="4" y="48"/>
                    <a:pt x="4" y="49"/>
                    <a:pt x="3" y="49"/>
                  </a:cubicBezTo>
                  <a:cubicBezTo>
                    <a:pt x="2" y="48"/>
                    <a:pt x="2" y="44"/>
                    <a:pt x="1" y="43"/>
                  </a:cubicBezTo>
                  <a:cubicBezTo>
                    <a:pt x="1" y="42"/>
                    <a:pt x="2" y="42"/>
                    <a:pt x="2" y="40"/>
                  </a:cubicBezTo>
                  <a:cubicBezTo>
                    <a:pt x="2" y="28"/>
                    <a:pt x="2" y="17"/>
                    <a:pt x="2" y="7"/>
                  </a:cubicBezTo>
                  <a:cubicBezTo>
                    <a:pt x="3" y="6"/>
                    <a:pt x="4" y="7"/>
                    <a:pt x="4" y="6"/>
                  </a:cubicBezTo>
                  <a:cubicBezTo>
                    <a:pt x="4" y="5"/>
                    <a:pt x="0" y="6"/>
                    <a:pt x="0" y="4"/>
                  </a:cubicBezTo>
                  <a:cubicBezTo>
                    <a:pt x="2" y="3"/>
                    <a:pt x="6" y="4"/>
                    <a:pt x="7" y="3"/>
                  </a:cubicBezTo>
                  <a:cubicBezTo>
                    <a:pt x="13" y="3"/>
                    <a:pt x="25" y="2"/>
                    <a:pt x="33" y="2"/>
                  </a:cubicBezTo>
                  <a:cubicBezTo>
                    <a:pt x="44" y="2"/>
                    <a:pt x="59" y="0"/>
                    <a:pt x="68" y="4"/>
                  </a:cubicBezTo>
                  <a:close/>
                  <a:moveTo>
                    <a:pt x="66" y="11"/>
                  </a:moveTo>
                  <a:cubicBezTo>
                    <a:pt x="65" y="14"/>
                    <a:pt x="64" y="19"/>
                    <a:pt x="66" y="21"/>
                  </a:cubicBezTo>
                  <a:cubicBezTo>
                    <a:pt x="66" y="18"/>
                    <a:pt x="66" y="14"/>
                    <a:pt x="66" y="11"/>
                  </a:cubicBezTo>
                  <a:close/>
                  <a:moveTo>
                    <a:pt x="64" y="4"/>
                  </a:moveTo>
                  <a:cubicBezTo>
                    <a:pt x="59" y="3"/>
                    <a:pt x="50" y="3"/>
                    <a:pt x="45" y="4"/>
                  </a:cubicBezTo>
                  <a:cubicBezTo>
                    <a:pt x="51" y="4"/>
                    <a:pt x="58" y="7"/>
                    <a:pt x="64" y="5"/>
                  </a:cubicBezTo>
                  <a:cubicBezTo>
                    <a:pt x="64" y="5"/>
                    <a:pt x="64" y="5"/>
                    <a:pt x="64" y="4"/>
                  </a:cubicBezTo>
                  <a:close/>
                  <a:moveTo>
                    <a:pt x="18" y="43"/>
                  </a:moveTo>
                  <a:cubicBezTo>
                    <a:pt x="15" y="43"/>
                    <a:pt x="12" y="43"/>
                    <a:pt x="10" y="44"/>
                  </a:cubicBezTo>
                  <a:cubicBezTo>
                    <a:pt x="8" y="44"/>
                    <a:pt x="5" y="44"/>
                    <a:pt x="4" y="45"/>
                  </a:cubicBezTo>
                  <a:cubicBezTo>
                    <a:pt x="8" y="48"/>
                    <a:pt x="14" y="45"/>
                    <a:pt x="19" y="45"/>
                  </a:cubicBezTo>
                  <a:cubicBezTo>
                    <a:pt x="28" y="44"/>
                    <a:pt x="37" y="44"/>
                    <a:pt x="44" y="44"/>
                  </a:cubicBezTo>
                  <a:cubicBezTo>
                    <a:pt x="36" y="43"/>
                    <a:pt x="27" y="43"/>
                    <a:pt x="18" y="43"/>
                  </a:cubicBezTo>
                  <a:close/>
                  <a:moveTo>
                    <a:pt x="8" y="35"/>
                  </a:moveTo>
                  <a:cubicBezTo>
                    <a:pt x="8" y="35"/>
                    <a:pt x="9" y="34"/>
                    <a:pt x="8" y="34"/>
                  </a:cubicBezTo>
                  <a:cubicBezTo>
                    <a:pt x="8" y="34"/>
                    <a:pt x="8" y="34"/>
                    <a:pt x="8" y="35"/>
                  </a:cubicBezTo>
                  <a:close/>
                  <a:moveTo>
                    <a:pt x="5" y="14"/>
                  </a:move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lose/>
                  <a:moveTo>
                    <a:pt x="4" y="16"/>
                  </a:moveTo>
                  <a:cubicBezTo>
                    <a:pt x="4" y="16"/>
                    <a:pt x="4" y="16"/>
                    <a:pt x="4" y="17"/>
                  </a:cubicBezTo>
                  <a:cubicBezTo>
                    <a:pt x="3" y="21"/>
                    <a:pt x="4" y="25"/>
                    <a:pt x="4" y="29"/>
                  </a:cubicBezTo>
                  <a:cubicBezTo>
                    <a:pt x="4" y="34"/>
                    <a:pt x="3" y="38"/>
                    <a:pt x="4" y="41"/>
                  </a:cubicBezTo>
                  <a:cubicBezTo>
                    <a:pt x="4" y="33"/>
                    <a:pt x="5" y="24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414">
              <a:extLst>
                <a:ext uri="{FF2B5EF4-FFF2-40B4-BE49-F238E27FC236}">
                  <a16:creationId xmlns:a16="http://schemas.microsoft.com/office/drawing/2014/main" id="{FE75815B-6A50-4DD3-93FF-ABCF073B0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873750"/>
              <a:ext cx="58738" cy="111125"/>
            </a:xfrm>
            <a:custGeom>
              <a:avLst/>
              <a:gdLst>
                <a:gd name="T0" fmla="*/ 7 w 10"/>
                <a:gd name="T1" fmla="*/ 2 h 19"/>
                <a:gd name="T2" fmla="*/ 10 w 10"/>
                <a:gd name="T3" fmla="*/ 0 h 19"/>
                <a:gd name="T4" fmla="*/ 4 w 10"/>
                <a:gd name="T5" fmla="*/ 13 h 19"/>
                <a:gd name="T6" fmla="*/ 8 w 10"/>
                <a:gd name="T7" fmla="*/ 9 h 19"/>
                <a:gd name="T8" fmla="*/ 7 w 10"/>
                <a:gd name="T9" fmla="*/ 17 h 19"/>
                <a:gd name="T10" fmla="*/ 5 w 10"/>
                <a:gd name="T11" fmla="*/ 15 h 19"/>
                <a:gd name="T12" fmla="*/ 2 w 10"/>
                <a:gd name="T13" fmla="*/ 19 h 19"/>
                <a:gd name="T14" fmla="*/ 2 w 10"/>
                <a:gd name="T15" fmla="*/ 13 h 19"/>
                <a:gd name="T16" fmla="*/ 9 w 10"/>
                <a:gd name="T17" fmla="*/ 2 h 19"/>
                <a:gd name="T18" fmla="*/ 7 w 10"/>
                <a:gd name="T1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9">
                  <a:moveTo>
                    <a:pt x="7" y="2"/>
                  </a:moveTo>
                  <a:cubicBezTo>
                    <a:pt x="8" y="1"/>
                    <a:pt x="9" y="0"/>
                    <a:pt x="10" y="0"/>
                  </a:cubicBezTo>
                  <a:cubicBezTo>
                    <a:pt x="10" y="5"/>
                    <a:pt x="5" y="8"/>
                    <a:pt x="4" y="13"/>
                  </a:cubicBezTo>
                  <a:cubicBezTo>
                    <a:pt x="5" y="13"/>
                    <a:pt x="6" y="10"/>
                    <a:pt x="8" y="9"/>
                  </a:cubicBezTo>
                  <a:cubicBezTo>
                    <a:pt x="10" y="11"/>
                    <a:pt x="4" y="14"/>
                    <a:pt x="7" y="17"/>
                  </a:cubicBezTo>
                  <a:cubicBezTo>
                    <a:pt x="5" y="18"/>
                    <a:pt x="4" y="17"/>
                    <a:pt x="5" y="15"/>
                  </a:cubicBezTo>
                  <a:cubicBezTo>
                    <a:pt x="3" y="16"/>
                    <a:pt x="3" y="18"/>
                    <a:pt x="2" y="19"/>
                  </a:cubicBezTo>
                  <a:cubicBezTo>
                    <a:pt x="0" y="17"/>
                    <a:pt x="2" y="14"/>
                    <a:pt x="2" y="13"/>
                  </a:cubicBezTo>
                  <a:cubicBezTo>
                    <a:pt x="4" y="9"/>
                    <a:pt x="8" y="5"/>
                    <a:pt x="9" y="2"/>
                  </a:cubicBezTo>
                  <a:cubicBezTo>
                    <a:pt x="9" y="1"/>
                    <a:pt x="8" y="3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15">
              <a:extLst>
                <a:ext uri="{FF2B5EF4-FFF2-40B4-BE49-F238E27FC236}">
                  <a16:creationId xmlns:a16="http://schemas.microsoft.com/office/drawing/2014/main" id="{5AA0BDA5-4C15-4731-AF48-FFE5E1467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1450" y="5832475"/>
              <a:ext cx="76200" cy="134938"/>
            </a:xfrm>
            <a:custGeom>
              <a:avLst/>
              <a:gdLst>
                <a:gd name="T0" fmla="*/ 4 w 13"/>
                <a:gd name="T1" fmla="*/ 19 h 23"/>
                <a:gd name="T2" fmla="*/ 2 w 13"/>
                <a:gd name="T3" fmla="*/ 23 h 23"/>
                <a:gd name="T4" fmla="*/ 1 w 13"/>
                <a:gd name="T5" fmla="*/ 19 h 23"/>
                <a:gd name="T6" fmla="*/ 10 w 13"/>
                <a:gd name="T7" fmla="*/ 4 h 23"/>
                <a:gd name="T8" fmla="*/ 12 w 13"/>
                <a:gd name="T9" fmla="*/ 2 h 23"/>
                <a:gd name="T10" fmla="*/ 8 w 13"/>
                <a:gd name="T11" fmla="*/ 5 h 23"/>
                <a:gd name="T12" fmla="*/ 13 w 13"/>
                <a:gd name="T13" fmla="*/ 0 h 23"/>
                <a:gd name="T14" fmla="*/ 10 w 13"/>
                <a:gd name="T15" fmla="*/ 6 h 23"/>
                <a:gd name="T16" fmla="*/ 6 w 13"/>
                <a:gd name="T17" fmla="*/ 12 h 23"/>
                <a:gd name="T18" fmla="*/ 4 w 13"/>
                <a:gd name="T19" fmla="*/ 15 h 23"/>
                <a:gd name="T20" fmla="*/ 3 w 13"/>
                <a:gd name="T21" fmla="*/ 20 h 23"/>
                <a:gd name="T22" fmla="*/ 4 w 13"/>
                <a:gd name="T23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23">
                  <a:moveTo>
                    <a:pt x="4" y="19"/>
                  </a:moveTo>
                  <a:cubicBezTo>
                    <a:pt x="3" y="21"/>
                    <a:pt x="3" y="22"/>
                    <a:pt x="2" y="23"/>
                  </a:cubicBezTo>
                  <a:cubicBezTo>
                    <a:pt x="0" y="23"/>
                    <a:pt x="1" y="20"/>
                    <a:pt x="1" y="19"/>
                  </a:cubicBezTo>
                  <a:cubicBezTo>
                    <a:pt x="3" y="14"/>
                    <a:pt x="8" y="9"/>
                    <a:pt x="10" y="4"/>
                  </a:cubicBezTo>
                  <a:cubicBezTo>
                    <a:pt x="11" y="3"/>
                    <a:pt x="12" y="3"/>
                    <a:pt x="12" y="2"/>
                  </a:cubicBezTo>
                  <a:cubicBezTo>
                    <a:pt x="10" y="2"/>
                    <a:pt x="9" y="4"/>
                    <a:pt x="8" y="5"/>
                  </a:cubicBezTo>
                  <a:cubicBezTo>
                    <a:pt x="9" y="3"/>
                    <a:pt x="11" y="1"/>
                    <a:pt x="13" y="0"/>
                  </a:cubicBezTo>
                  <a:cubicBezTo>
                    <a:pt x="13" y="2"/>
                    <a:pt x="11" y="4"/>
                    <a:pt x="10" y="6"/>
                  </a:cubicBezTo>
                  <a:cubicBezTo>
                    <a:pt x="8" y="8"/>
                    <a:pt x="7" y="10"/>
                    <a:pt x="6" y="12"/>
                  </a:cubicBezTo>
                  <a:cubicBezTo>
                    <a:pt x="6" y="14"/>
                    <a:pt x="5" y="14"/>
                    <a:pt x="4" y="15"/>
                  </a:cubicBezTo>
                  <a:cubicBezTo>
                    <a:pt x="4" y="17"/>
                    <a:pt x="3" y="18"/>
                    <a:pt x="3" y="20"/>
                  </a:cubicBezTo>
                  <a:cubicBezTo>
                    <a:pt x="3" y="21"/>
                    <a:pt x="3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6">
              <a:extLst>
                <a:ext uri="{FF2B5EF4-FFF2-40B4-BE49-F238E27FC236}">
                  <a16:creationId xmlns:a16="http://schemas.microsoft.com/office/drawing/2014/main" id="{0415C083-58C2-42DD-A027-D6A4BA1E9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6538" y="5884863"/>
              <a:ext cx="0" cy="6350"/>
            </a:xfrm>
            <a:custGeom>
              <a:avLst/>
              <a:gdLst>
                <a:gd name="T0" fmla="*/ 0 h 1"/>
                <a:gd name="T1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17">
              <a:extLst>
                <a:ext uri="{FF2B5EF4-FFF2-40B4-BE49-F238E27FC236}">
                  <a16:creationId xmlns:a16="http://schemas.microsoft.com/office/drawing/2014/main" id="{22FE558B-3EA0-4EDB-8909-552EFD74C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861050"/>
              <a:ext cx="17463" cy="23813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3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2"/>
                    <a:pt x="1" y="3"/>
                    <a:pt x="0" y="4"/>
                  </a:cubicBezTo>
                  <a:cubicBezTo>
                    <a:pt x="0" y="2"/>
                    <a:pt x="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18">
              <a:extLst>
                <a:ext uri="{FF2B5EF4-FFF2-40B4-BE49-F238E27FC236}">
                  <a16:creationId xmlns:a16="http://schemas.microsoft.com/office/drawing/2014/main" id="{984D0B31-F13A-44F2-A33A-78904BF90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5826125"/>
              <a:ext cx="93663" cy="165100"/>
            </a:xfrm>
            <a:custGeom>
              <a:avLst/>
              <a:gdLst>
                <a:gd name="T0" fmla="*/ 12 w 16"/>
                <a:gd name="T1" fmla="*/ 13 h 28"/>
                <a:gd name="T2" fmla="*/ 1 w 16"/>
                <a:gd name="T3" fmla="*/ 28 h 28"/>
                <a:gd name="T4" fmla="*/ 6 w 16"/>
                <a:gd name="T5" fmla="*/ 15 h 28"/>
                <a:gd name="T6" fmla="*/ 0 w 16"/>
                <a:gd name="T7" fmla="*/ 22 h 28"/>
                <a:gd name="T8" fmla="*/ 16 w 16"/>
                <a:gd name="T9" fmla="*/ 0 h 28"/>
                <a:gd name="T10" fmla="*/ 2 w 16"/>
                <a:gd name="T11" fmla="*/ 25 h 28"/>
                <a:gd name="T12" fmla="*/ 12 w 16"/>
                <a:gd name="T13" fmla="*/ 13 h 28"/>
                <a:gd name="T14" fmla="*/ 12 w 16"/>
                <a:gd name="T15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8">
                  <a:moveTo>
                    <a:pt x="12" y="13"/>
                  </a:moveTo>
                  <a:cubicBezTo>
                    <a:pt x="8" y="17"/>
                    <a:pt x="5" y="25"/>
                    <a:pt x="1" y="28"/>
                  </a:cubicBezTo>
                  <a:cubicBezTo>
                    <a:pt x="1" y="23"/>
                    <a:pt x="4" y="19"/>
                    <a:pt x="6" y="15"/>
                  </a:cubicBezTo>
                  <a:cubicBezTo>
                    <a:pt x="3" y="17"/>
                    <a:pt x="2" y="21"/>
                    <a:pt x="0" y="22"/>
                  </a:cubicBezTo>
                  <a:cubicBezTo>
                    <a:pt x="5" y="15"/>
                    <a:pt x="10" y="7"/>
                    <a:pt x="16" y="0"/>
                  </a:cubicBezTo>
                  <a:cubicBezTo>
                    <a:pt x="11" y="8"/>
                    <a:pt x="6" y="16"/>
                    <a:pt x="2" y="25"/>
                  </a:cubicBezTo>
                  <a:cubicBezTo>
                    <a:pt x="5" y="22"/>
                    <a:pt x="9" y="16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19">
              <a:extLst>
                <a:ext uri="{FF2B5EF4-FFF2-40B4-BE49-F238E27FC236}">
                  <a16:creationId xmlns:a16="http://schemas.microsoft.com/office/drawing/2014/main" id="{96D27188-DA32-40B6-8298-19B2CA3CB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4763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20">
              <a:extLst>
                <a:ext uri="{FF2B5EF4-FFF2-40B4-BE49-F238E27FC236}">
                  <a16:creationId xmlns:a16="http://schemas.microsoft.com/office/drawing/2014/main" id="{63426A33-332A-4DEA-A628-DE012E904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21">
              <a:extLst>
                <a:ext uri="{FF2B5EF4-FFF2-40B4-BE49-F238E27FC236}">
                  <a16:creationId xmlns:a16="http://schemas.microsoft.com/office/drawing/2014/main" id="{124181ED-3A4C-479B-BCE9-DE2BB2DBF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0" cy="476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22">
              <a:extLst>
                <a:ext uri="{FF2B5EF4-FFF2-40B4-BE49-F238E27FC236}">
                  <a16:creationId xmlns:a16="http://schemas.microsoft.com/office/drawing/2014/main" id="{9C1C698A-6B3D-4BA3-ACF6-404950FE1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937250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23">
              <a:extLst>
                <a:ext uri="{FF2B5EF4-FFF2-40B4-BE49-F238E27FC236}">
                  <a16:creationId xmlns:a16="http://schemas.microsoft.com/office/drawing/2014/main" id="{9D2E33DF-8A43-4410-A567-D12132B6C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5884863"/>
              <a:ext cx="12700" cy="6350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24">
              <a:extLst>
                <a:ext uri="{FF2B5EF4-FFF2-40B4-BE49-F238E27FC236}">
                  <a16:creationId xmlns:a16="http://schemas.microsoft.com/office/drawing/2014/main" id="{0298376A-E248-47FB-ABF4-3A993575E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937250"/>
              <a:ext cx="0" cy="6350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25">
              <a:extLst>
                <a:ext uri="{FF2B5EF4-FFF2-40B4-BE49-F238E27FC236}">
                  <a16:creationId xmlns:a16="http://schemas.microsoft.com/office/drawing/2014/main" id="{FA63BC9E-57CD-417E-B9BA-3B90A4511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5891213"/>
              <a:ext cx="0" cy="6350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26">
              <a:extLst>
                <a:ext uri="{FF2B5EF4-FFF2-40B4-BE49-F238E27FC236}">
                  <a16:creationId xmlns:a16="http://schemas.microsoft.com/office/drawing/2014/main" id="{993F58F7-3B8B-4F3B-AF9F-703282C80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63" y="5897563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27">
              <a:extLst>
                <a:ext uri="{FF2B5EF4-FFF2-40B4-BE49-F238E27FC236}">
                  <a16:creationId xmlns:a16="http://schemas.microsoft.com/office/drawing/2014/main" id="{E1368875-4E33-4906-A0F2-B17F51550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63" y="5897563"/>
              <a:ext cx="0" cy="476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28">
              <a:extLst>
                <a:ext uri="{FF2B5EF4-FFF2-40B4-BE49-F238E27FC236}">
                  <a16:creationId xmlns:a16="http://schemas.microsoft.com/office/drawing/2014/main" id="{000904CF-8FFF-4CF6-8E60-9EEFEEE98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837238"/>
              <a:ext cx="93663" cy="165100"/>
            </a:xfrm>
            <a:custGeom>
              <a:avLst/>
              <a:gdLst>
                <a:gd name="T0" fmla="*/ 7 w 16"/>
                <a:gd name="T1" fmla="*/ 20 h 28"/>
                <a:gd name="T2" fmla="*/ 0 w 16"/>
                <a:gd name="T3" fmla="*/ 28 h 28"/>
                <a:gd name="T4" fmla="*/ 6 w 16"/>
                <a:gd name="T5" fmla="*/ 14 h 28"/>
                <a:gd name="T6" fmla="*/ 6 w 16"/>
                <a:gd name="T7" fmla="*/ 14 h 28"/>
                <a:gd name="T8" fmla="*/ 6 w 16"/>
                <a:gd name="T9" fmla="*/ 14 h 28"/>
                <a:gd name="T10" fmla="*/ 5 w 16"/>
                <a:gd name="T11" fmla="*/ 14 h 28"/>
                <a:gd name="T12" fmla="*/ 10 w 16"/>
                <a:gd name="T13" fmla="*/ 6 h 28"/>
                <a:gd name="T14" fmla="*/ 16 w 16"/>
                <a:gd name="T15" fmla="*/ 0 h 28"/>
                <a:gd name="T16" fmla="*/ 2 w 16"/>
                <a:gd name="T17" fmla="*/ 26 h 28"/>
                <a:gd name="T18" fmla="*/ 6 w 16"/>
                <a:gd name="T19" fmla="*/ 20 h 28"/>
                <a:gd name="T20" fmla="*/ 7 w 16"/>
                <a:gd name="T21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8">
                  <a:moveTo>
                    <a:pt x="7" y="20"/>
                  </a:moveTo>
                  <a:cubicBezTo>
                    <a:pt x="5" y="23"/>
                    <a:pt x="3" y="27"/>
                    <a:pt x="0" y="28"/>
                  </a:cubicBezTo>
                  <a:cubicBezTo>
                    <a:pt x="0" y="23"/>
                    <a:pt x="4" y="19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4"/>
                    <a:pt x="6" y="14"/>
                  </a:cubicBezTo>
                  <a:cubicBezTo>
                    <a:pt x="6" y="14"/>
                    <a:pt x="5" y="14"/>
                    <a:pt x="5" y="14"/>
                  </a:cubicBezTo>
                  <a:cubicBezTo>
                    <a:pt x="7" y="11"/>
                    <a:pt x="8" y="9"/>
                    <a:pt x="10" y="6"/>
                  </a:cubicBezTo>
                  <a:cubicBezTo>
                    <a:pt x="12" y="4"/>
                    <a:pt x="13" y="1"/>
                    <a:pt x="16" y="0"/>
                  </a:cubicBezTo>
                  <a:cubicBezTo>
                    <a:pt x="11" y="8"/>
                    <a:pt x="5" y="15"/>
                    <a:pt x="2" y="26"/>
                  </a:cubicBezTo>
                  <a:cubicBezTo>
                    <a:pt x="4" y="24"/>
                    <a:pt x="5" y="22"/>
                    <a:pt x="6" y="20"/>
                  </a:cubicBezTo>
                  <a:cubicBezTo>
                    <a:pt x="6" y="20"/>
                    <a:pt x="7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29">
              <a:extLst>
                <a:ext uri="{FF2B5EF4-FFF2-40B4-BE49-F238E27FC236}">
                  <a16:creationId xmlns:a16="http://schemas.microsoft.com/office/drawing/2014/main" id="{6A48B454-FEE4-4744-BDB1-2A1A3D1714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2863" y="5861050"/>
              <a:ext cx="69850" cy="136525"/>
            </a:xfrm>
            <a:custGeom>
              <a:avLst/>
              <a:gdLst>
                <a:gd name="T0" fmla="*/ 3 w 12"/>
                <a:gd name="T1" fmla="*/ 20 h 23"/>
                <a:gd name="T2" fmla="*/ 0 w 12"/>
                <a:gd name="T3" fmla="*/ 22 h 23"/>
                <a:gd name="T4" fmla="*/ 7 w 12"/>
                <a:gd name="T5" fmla="*/ 7 h 23"/>
                <a:gd name="T6" fmla="*/ 5 w 12"/>
                <a:gd name="T7" fmla="*/ 9 h 23"/>
                <a:gd name="T8" fmla="*/ 12 w 12"/>
                <a:gd name="T9" fmla="*/ 0 h 23"/>
                <a:gd name="T10" fmla="*/ 1 w 12"/>
                <a:gd name="T11" fmla="*/ 20 h 23"/>
                <a:gd name="T12" fmla="*/ 3 w 12"/>
                <a:gd name="T13" fmla="*/ 20 h 23"/>
                <a:gd name="T14" fmla="*/ 8 w 12"/>
                <a:gd name="T15" fmla="*/ 5 h 23"/>
                <a:gd name="T16" fmla="*/ 8 w 12"/>
                <a:gd name="T17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3">
                  <a:moveTo>
                    <a:pt x="3" y="20"/>
                  </a:moveTo>
                  <a:cubicBezTo>
                    <a:pt x="3" y="21"/>
                    <a:pt x="2" y="23"/>
                    <a:pt x="0" y="22"/>
                  </a:cubicBezTo>
                  <a:cubicBezTo>
                    <a:pt x="0" y="16"/>
                    <a:pt x="5" y="12"/>
                    <a:pt x="7" y="7"/>
                  </a:cubicBezTo>
                  <a:cubicBezTo>
                    <a:pt x="6" y="7"/>
                    <a:pt x="6" y="8"/>
                    <a:pt x="5" y="9"/>
                  </a:cubicBezTo>
                  <a:cubicBezTo>
                    <a:pt x="6" y="6"/>
                    <a:pt x="9" y="2"/>
                    <a:pt x="12" y="0"/>
                  </a:cubicBezTo>
                  <a:cubicBezTo>
                    <a:pt x="9" y="7"/>
                    <a:pt x="4" y="12"/>
                    <a:pt x="1" y="20"/>
                  </a:cubicBezTo>
                  <a:cubicBezTo>
                    <a:pt x="2" y="21"/>
                    <a:pt x="3" y="20"/>
                    <a:pt x="3" y="20"/>
                  </a:cubicBezTo>
                  <a:close/>
                  <a:moveTo>
                    <a:pt x="8" y="5"/>
                  </a:moveTo>
                  <a:cubicBezTo>
                    <a:pt x="7" y="6"/>
                    <a:pt x="8" y="5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30">
              <a:extLst>
                <a:ext uri="{FF2B5EF4-FFF2-40B4-BE49-F238E27FC236}">
                  <a16:creationId xmlns:a16="http://schemas.microsoft.com/office/drawing/2014/main" id="{25AE0B3D-5264-4F44-9CB9-524BF8E0E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250" y="5919788"/>
              <a:ext cx="6350" cy="6350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31">
              <a:extLst>
                <a:ext uri="{FF2B5EF4-FFF2-40B4-BE49-F238E27FC236}">
                  <a16:creationId xmlns:a16="http://schemas.microsoft.com/office/drawing/2014/main" id="{623E6253-8CEA-459C-BB8C-EC22BE2F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250" y="59261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432">
              <a:extLst>
                <a:ext uri="{FF2B5EF4-FFF2-40B4-BE49-F238E27FC236}">
                  <a16:creationId xmlns:a16="http://schemas.microsoft.com/office/drawing/2014/main" id="{338F6459-F7C7-42D4-A2E0-BFA8862ED6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5250" y="5926138"/>
              <a:ext cx="1588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33">
              <a:extLst>
                <a:ext uri="{FF2B5EF4-FFF2-40B4-BE49-F238E27FC236}">
                  <a16:creationId xmlns:a16="http://schemas.microsoft.com/office/drawing/2014/main" id="{751C103C-FC72-4E3F-BD9F-649EF1BB5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2550" y="5943600"/>
              <a:ext cx="6350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34">
              <a:extLst>
                <a:ext uri="{FF2B5EF4-FFF2-40B4-BE49-F238E27FC236}">
                  <a16:creationId xmlns:a16="http://schemas.microsoft.com/office/drawing/2014/main" id="{97BE13A9-AB3F-4902-9048-3815248988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9050" y="5849938"/>
              <a:ext cx="63500" cy="123825"/>
            </a:xfrm>
            <a:custGeom>
              <a:avLst/>
              <a:gdLst>
                <a:gd name="T0" fmla="*/ 6 w 11"/>
                <a:gd name="T1" fmla="*/ 15 h 21"/>
                <a:gd name="T2" fmla="*/ 0 w 11"/>
                <a:gd name="T3" fmla="*/ 21 h 21"/>
                <a:gd name="T4" fmla="*/ 5 w 11"/>
                <a:gd name="T5" fmla="*/ 9 h 21"/>
                <a:gd name="T6" fmla="*/ 2 w 11"/>
                <a:gd name="T7" fmla="*/ 13 h 21"/>
                <a:gd name="T8" fmla="*/ 11 w 11"/>
                <a:gd name="T9" fmla="*/ 0 h 21"/>
                <a:gd name="T10" fmla="*/ 1 w 11"/>
                <a:gd name="T11" fmla="*/ 19 h 21"/>
                <a:gd name="T12" fmla="*/ 5 w 11"/>
                <a:gd name="T13" fmla="*/ 15 h 21"/>
                <a:gd name="T14" fmla="*/ 6 w 11"/>
                <a:gd name="T15" fmla="*/ 15 h 21"/>
                <a:gd name="T16" fmla="*/ 5 w 11"/>
                <a:gd name="T17" fmla="*/ 9 h 21"/>
                <a:gd name="T18" fmla="*/ 5 w 11"/>
                <a:gd name="T19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21">
                  <a:moveTo>
                    <a:pt x="6" y="15"/>
                  </a:moveTo>
                  <a:cubicBezTo>
                    <a:pt x="4" y="17"/>
                    <a:pt x="3" y="21"/>
                    <a:pt x="0" y="21"/>
                  </a:cubicBezTo>
                  <a:cubicBezTo>
                    <a:pt x="0" y="17"/>
                    <a:pt x="4" y="13"/>
                    <a:pt x="5" y="9"/>
                  </a:cubicBezTo>
                  <a:cubicBezTo>
                    <a:pt x="3" y="10"/>
                    <a:pt x="3" y="12"/>
                    <a:pt x="2" y="13"/>
                  </a:cubicBezTo>
                  <a:cubicBezTo>
                    <a:pt x="5" y="8"/>
                    <a:pt x="7" y="3"/>
                    <a:pt x="11" y="0"/>
                  </a:cubicBezTo>
                  <a:cubicBezTo>
                    <a:pt x="9" y="7"/>
                    <a:pt x="4" y="12"/>
                    <a:pt x="1" y="19"/>
                  </a:cubicBezTo>
                  <a:cubicBezTo>
                    <a:pt x="3" y="18"/>
                    <a:pt x="4" y="16"/>
                    <a:pt x="5" y="15"/>
                  </a:cubicBezTo>
                  <a:cubicBezTo>
                    <a:pt x="6" y="15"/>
                    <a:pt x="6" y="15"/>
                    <a:pt x="6" y="15"/>
                  </a:cubicBezTo>
                  <a:close/>
                  <a:moveTo>
                    <a:pt x="5" y="9"/>
                  </a:moveTo>
                  <a:cubicBezTo>
                    <a:pt x="5" y="9"/>
                    <a:pt x="5" y="8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35">
              <a:extLst>
                <a:ext uri="{FF2B5EF4-FFF2-40B4-BE49-F238E27FC236}">
                  <a16:creationId xmlns:a16="http://schemas.microsoft.com/office/drawing/2014/main" id="{A834C27B-B9E2-4C3A-8820-295E243FE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956300"/>
              <a:ext cx="6350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36">
              <a:extLst>
                <a:ext uri="{FF2B5EF4-FFF2-40B4-BE49-F238E27FC236}">
                  <a16:creationId xmlns:a16="http://schemas.microsoft.com/office/drawing/2014/main" id="{A7B73BDA-5A05-44EF-BBB0-8DA16791D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9610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37">
              <a:extLst>
                <a:ext uri="{FF2B5EF4-FFF2-40B4-BE49-F238E27FC236}">
                  <a16:creationId xmlns:a16="http://schemas.microsoft.com/office/drawing/2014/main" id="{5F3C1327-8230-4E3A-94A2-0BCB7AFCE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5961063"/>
              <a:ext cx="11113" cy="17463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2 w 2"/>
                <a:gd name="T5" fmla="*/ 0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1"/>
                    <a:pt x="1" y="2"/>
                    <a:pt x="0" y="3"/>
                  </a:cubicBezTo>
                  <a:cubicBezTo>
                    <a:pt x="0" y="1"/>
                    <a:pt x="1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38">
              <a:extLst>
                <a:ext uri="{FF2B5EF4-FFF2-40B4-BE49-F238E27FC236}">
                  <a16:creationId xmlns:a16="http://schemas.microsoft.com/office/drawing/2014/main" id="{F7654CDB-8204-412C-8454-2A1F9CBFF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5088" y="5915025"/>
              <a:ext cx="6350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39">
              <a:extLst>
                <a:ext uri="{FF2B5EF4-FFF2-40B4-BE49-F238E27FC236}">
                  <a16:creationId xmlns:a16="http://schemas.microsoft.com/office/drawing/2014/main" id="{67BF909A-8541-4171-981D-636B20E66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3975" y="5919788"/>
              <a:ext cx="11113" cy="6350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40">
              <a:extLst>
                <a:ext uri="{FF2B5EF4-FFF2-40B4-BE49-F238E27FC236}">
                  <a16:creationId xmlns:a16="http://schemas.microsoft.com/office/drawing/2014/main" id="{EFB9DC14-3E3F-4E8E-8BA3-B98AD6871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5973763"/>
              <a:ext cx="0" cy="4763"/>
            </a:xfrm>
            <a:custGeom>
              <a:avLst/>
              <a:gdLst>
                <a:gd name="T0" fmla="*/ 1 h 1"/>
                <a:gd name="T1" fmla="*/ 1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441">
              <a:extLst>
                <a:ext uri="{FF2B5EF4-FFF2-40B4-BE49-F238E27FC236}">
                  <a16:creationId xmlns:a16="http://schemas.microsoft.com/office/drawing/2014/main" id="{8BD2F321-D2A1-4B99-977F-B98628D6DD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975" y="5932488"/>
              <a:ext cx="1588" cy="4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42">
              <a:extLst>
                <a:ext uri="{FF2B5EF4-FFF2-40B4-BE49-F238E27FC236}">
                  <a16:creationId xmlns:a16="http://schemas.microsoft.com/office/drawing/2014/main" id="{8DFF5700-2641-41A1-840A-C3A606CE3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3813" y="5926138"/>
              <a:ext cx="6350" cy="6350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43">
              <a:extLst>
                <a:ext uri="{FF2B5EF4-FFF2-40B4-BE49-F238E27FC236}">
                  <a16:creationId xmlns:a16="http://schemas.microsoft.com/office/drawing/2014/main" id="{AE79371F-C0A2-4E5E-8DE2-3938386CA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9050" y="5932488"/>
              <a:ext cx="4763" cy="4763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630F921D-4735-4686-805F-7670972EDEBF}"/>
              </a:ext>
            </a:extLst>
          </p:cNvPr>
          <p:cNvSpPr txBox="1"/>
          <p:nvPr/>
        </p:nvSpPr>
        <p:spPr>
          <a:xfrm>
            <a:off x="9192056" y="4590923"/>
            <a:ext cx="210296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/>
              <a:t>Salgsordreoppretter</a:t>
            </a:r>
            <a:r>
              <a:rPr lang="nb-NO" sz="1100"/>
              <a:t> oppretter salgsordren i Unit4 ERP.</a:t>
            </a:r>
          </a:p>
        </p:txBody>
      </p:sp>
      <p:sp>
        <p:nvSpPr>
          <p:cNvPr id="77" name="Freeform 6">
            <a:extLst>
              <a:ext uri="{FF2B5EF4-FFF2-40B4-BE49-F238E27FC236}">
                <a16:creationId xmlns:a16="http://schemas.microsoft.com/office/drawing/2014/main" id="{6BF963B2-3519-4777-82A3-F20013005170}"/>
              </a:ext>
            </a:extLst>
          </p:cNvPr>
          <p:cNvSpPr>
            <a:spLocks/>
          </p:cNvSpPr>
          <p:nvPr/>
        </p:nvSpPr>
        <p:spPr bwMode="auto">
          <a:xfrm>
            <a:off x="4310288" y="3282061"/>
            <a:ext cx="3187792" cy="1995375"/>
          </a:xfrm>
          <a:custGeom>
            <a:avLst/>
            <a:gdLst>
              <a:gd name="T0" fmla="*/ 371 w 379"/>
              <a:gd name="T1" fmla="*/ 382 h 943"/>
              <a:gd name="T2" fmla="*/ 372 w 379"/>
              <a:gd name="T3" fmla="*/ 446 h 943"/>
              <a:gd name="T4" fmla="*/ 372 w 379"/>
              <a:gd name="T5" fmla="*/ 605 h 943"/>
              <a:gd name="T6" fmla="*/ 372 w 379"/>
              <a:gd name="T7" fmla="*/ 612 h 943"/>
              <a:gd name="T8" fmla="*/ 373 w 379"/>
              <a:gd name="T9" fmla="*/ 656 h 943"/>
              <a:gd name="T10" fmla="*/ 373 w 379"/>
              <a:gd name="T11" fmla="*/ 790 h 943"/>
              <a:gd name="T12" fmla="*/ 374 w 379"/>
              <a:gd name="T13" fmla="*/ 905 h 943"/>
              <a:gd name="T14" fmla="*/ 375 w 379"/>
              <a:gd name="T15" fmla="*/ 873 h 943"/>
              <a:gd name="T16" fmla="*/ 375 w 379"/>
              <a:gd name="T17" fmla="*/ 862 h 943"/>
              <a:gd name="T18" fmla="*/ 375 w 379"/>
              <a:gd name="T19" fmla="*/ 786 h 943"/>
              <a:gd name="T20" fmla="*/ 374 w 379"/>
              <a:gd name="T21" fmla="*/ 591 h 943"/>
              <a:gd name="T22" fmla="*/ 374 w 379"/>
              <a:gd name="T23" fmla="*/ 493 h 943"/>
              <a:gd name="T24" fmla="*/ 373 w 379"/>
              <a:gd name="T25" fmla="*/ 441 h 943"/>
              <a:gd name="T26" fmla="*/ 374 w 379"/>
              <a:gd name="T27" fmla="*/ 2 h 943"/>
              <a:gd name="T28" fmla="*/ 372 w 379"/>
              <a:gd name="T29" fmla="*/ 0 h 943"/>
              <a:gd name="T30" fmla="*/ 305 w 379"/>
              <a:gd name="T31" fmla="*/ 1 h 943"/>
              <a:gd name="T32" fmla="*/ 231 w 379"/>
              <a:gd name="T33" fmla="*/ 1 h 943"/>
              <a:gd name="T34" fmla="*/ 2 w 379"/>
              <a:gd name="T35" fmla="*/ 2 h 943"/>
              <a:gd name="T36" fmla="*/ 2 w 379"/>
              <a:gd name="T37" fmla="*/ 2 h 943"/>
              <a:gd name="T38" fmla="*/ 2 w 379"/>
              <a:gd name="T39" fmla="*/ 187 h 943"/>
              <a:gd name="T40" fmla="*/ 2 w 379"/>
              <a:gd name="T41" fmla="*/ 557 h 943"/>
              <a:gd name="T42" fmla="*/ 3 w 379"/>
              <a:gd name="T43" fmla="*/ 905 h 943"/>
              <a:gd name="T44" fmla="*/ 2 w 379"/>
              <a:gd name="T45" fmla="*/ 941 h 943"/>
              <a:gd name="T46" fmla="*/ 272 w 379"/>
              <a:gd name="T47" fmla="*/ 942 h 943"/>
              <a:gd name="T48" fmla="*/ 307 w 379"/>
              <a:gd name="T49" fmla="*/ 941 h 943"/>
              <a:gd name="T50" fmla="*/ 325 w 379"/>
              <a:gd name="T51" fmla="*/ 941 h 943"/>
              <a:gd name="T52" fmla="*/ 334 w 379"/>
              <a:gd name="T53" fmla="*/ 941 h 943"/>
              <a:gd name="T54" fmla="*/ 360 w 379"/>
              <a:gd name="T55" fmla="*/ 942 h 943"/>
              <a:gd name="T56" fmla="*/ 372 w 379"/>
              <a:gd name="T57" fmla="*/ 942 h 943"/>
              <a:gd name="T58" fmla="*/ 369 w 379"/>
              <a:gd name="T59" fmla="*/ 941 h 943"/>
              <a:gd name="T60" fmla="*/ 346 w 379"/>
              <a:gd name="T61" fmla="*/ 939 h 943"/>
              <a:gd name="T62" fmla="*/ 329 w 379"/>
              <a:gd name="T63" fmla="*/ 939 h 943"/>
              <a:gd name="T64" fmla="*/ 318 w 379"/>
              <a:gd name="T65" fmla="*/ 939 h 943"/>
              <a:gd name="T66" fmla="*/ 233 w 379"/>
              <a:gd name="T67" fmla="*/ 940 h 943"/>
              <a:gd name="T68" fmla="*/ 204 w 379"/>
              <a:gd name="T69" fmla="*/ 939 h 943"/>
              <a:gd name="T70" fmla="*/ 146 w 379"/>
              <a:gd name="T71" fmla="*/ 939 h 943"/>
              <a:gd name="T72" fmla="*/ 80 w 379"/>
              <a:gd name="T73" fmla="*/ 938 h 943"/>
              <a:gd name="T74" fmla="*/ 2 w 379"/>
              <a:gd name="T75" fmla="*/ 939 h 943"/>
              <a:gd name="T76" fmla="*/ 4 w 379"/>
              <a:gd name="T77" fmla="*/ 920 h 943"/>
              <a:gd name="T78" fmla="*/ 4 w 379"/>
              <a:gd name="T79" fmla="*/ 869 h 943"/>
              <a:gd name="T80" fmla="*/ 4 w 379"/>
              <a:gd name="T81" fmla="*/ 793 h 943"/>
              <a:gd name="T82" fmla="*/ 5 w 379"/>
              <a:gd name="T83" fmla="*/ 608 h 943"/>
              <a:gd name="T84" fmla="*/ 3 w 379"/>
              <a:gd name="T85" fmla="*/ 586 h 943"/>
              <a:gd name="T86" fmla="*/ 4 w 379"/>
              <a:gd name="T87" fmla="*/ 558 h 943"/>
              <a:gd name="T88" fmla="*/ 4 w 379"/>
              <a:gd name="T89" fmla="*/ 529 h 943"/>
              <a:gd name="T90" fmla="*/ 4 w 379"/>
              <a:gd name="T91" fmla="*/ 521 h 943"/>
              <a:gd name="T92" fmla="*/ 3 w 379"/>
              <a:gd name="T93" fmla="*/ 263 h 943"/>
              <a:gd name="T94" fmla="*/ 3 w 379"/>
              <a:gd name="T95" fmla="*/ 249 h 943"/>
              <a:gd name="T96" fmla="*/ 3 w 379"/>
              <a:gd name="T97" fmla="*/ 185 h 943"/>
              <a:gd name="T98" fmla="*/ 3 w 379"/>
              <a:gd name="T99" fmla="*/ 152 h 943"/>
              <a:gd name="T100" fmla="*/ 4 w 379"/>
              <a:gd name="T101" fmla="*/ 20 h 943"/>
              <a:gd name="T102" fmla="*/ 2 w 379"/>
              <a:gd name="T103" fmla="*/ 3 h 943"/>
              <a:gd name="T104" fmla="*/ 100 w 379"/>
              <a:gd name="T105" fmla="*/ 3 h 943"/>
              <a:gd name="T106" fmla="*/ 310 w 379"/>
              <a:gd name="T107" fmla="*/ 2 h 943"/>
              <a:gd name="T108" fmla="*/ 372 w 379"/>
              <a:gd name="T109" fmla="*/ 3 h 943"/>
              <a:gd name="T110" fmla="*/ 372 w 379"/>
              <a:gd name="T111" fmla="*/ 53 h 943"/>
              <a:gd name="T112" fmla="*/ 372 w 379"/>
              <a:gd name="T113" fmla="*/ 71 h 943"/>
              <a:gd name="T114" fmla="*/ 372 w 379"/>
              <a:gd name="T115" fmla="*/ 155 h 943"/>
              <a:gd name="T116" fmla="*/ 372 w 379"/>
              <a:gd name="T117" fmla="*/ 177 h 943"/>
              <a:gd name="T118" fmla="*/ 372 w 379"/>
              <a:gd name="T119" fmla="*/ 257 h 943"/>
              <a:gd name="T120" fmla="*/ 372 w 379"/>
              <a:gd name="T121" fmla="*/ 309 h 943"/>
              <a:gd name="T122" fmla="*/ 372 w 379"/>
              <a:gd name="T123" fmla="*/ 317 h 943"/>
              <a:gd name="T124" fmla="*/ 372 w 379"/>
              <a:gd name="T125" fmla="*/ 383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79" h="943">
                <a:moveTo>
                  <a:pt x="372" y="383"/>
                </a:moveTo>
                <a:cubicBezTo>
                  <a:pt x="371" y="382"/>
                  <a:pt x="371" y="382"/>
                  <a:pt x="371" y="382"/>
                </a:cubicBezTo>
                <a:cubicBezTo>
                  <a:pt x="372" y="403"/>
                  <a:pt x="371" y="426"/>
                  <a:pt x="372" y="448"/>
                </a:cubicBezTo>
                <a:cubicBezTo>
                  <a:pt x="372" y="446"/>
                  <a:pt x="372" y="446"/>
                  <a:pt x="372" y="446"/>
                </a:cubicBezTo>
                <a:cubicBezTo>
                  <a:pt x="371" y="501"/>
                  <a:pt x="372" y="552"/>
                  <a:pt x="372" y="607"/>
                </a:cubicBezTo>
                <a:cubicBezTo>
                  <a:pt x="372" y="606"/>
                  <a:pt x="372" y="606"/>
                  <a:pt x="372" y="605"/>
                </a:cubicBezTo>
                <a:cubicBezTo>
                  <a:pt x="372" y="608"/>
                  <a:pt x="373" y="611"/>
                  <a:pt x="373" y="614"/>
                </a:cubicBezTo>
                <a:cubicBezTo>
                  <a:pt x="373" y="614"/>
                  <a:pt x="372" y="613"/>
                  <a:pt x="372" y="612"/>
                </a:cubicBezTo>
                <a:cubicBezTo>
                  <a:pt x="372" y="623"/>
                  <a:pt x="373" y="646"/>
                  <a:pt x="372" y="653"/>
                </a:cubicBezTo>
                <a:cubicBezTo>
                  <a:pt x="372" y="656"/>
                  <a:pt x="373" y="658"/>
                  <a:pt x="373" y="656"/>
                </a:cubicBezTo>
                <a:cubicBezTo>
                  <a:pt x="373" y="699"/>
                  <a:pt x="373" y="745"/>
                  <a:pt x="374" y="788"/>
                </a:cubicBezTo>
                <a:cubicBezTo>
                  <a:pt x="374" y="790"/>
                  <a:pt x="374" y="791"/>
                  <a:pt x="373" y="790"/>
                </a:cubicBezTo>
                <a:cubicBezTo>
                  <a:pt x="374" y="828"/>
                  <a:pt x="374" y="867"/>
                  <a:pt x="374" y="905"/>
                </a:cubicBezTo>
                <a:cubicBezTo>
                  <a:pt x="374" y="906"/>
                  <a:pt x="374" y="901"/>
                  <a:pt x="374" y="905"/>
                </a:cubicBezTo>
                <a:cubicBezTo>
                  <a:pt x="375" y="893"/>
                  <a:pt x="374" y="882"/>
                  <a:pt x="374" y="871"/>
                </a:cubicBezTo>
                <a:cubicBezTo>
                  <a:pt x="375" y="873"/>
                  <a:pt x="375" y="873"/>
                  <a:pt x="375" y="873"/>
                </a:cubicBezTo>
                <a:cubicBezTo>
                  <a:pt x="375" y="865"/>
                  <a:pt x="374" y="871"/>
                  <a:pt x="374" y="863"/>
                </a:cubicBezTo>
                <a:cubicBezTo>
                  <a:pt x="374" y="859"/>
                  <a:pt x="375" y="863"/>
                  <a:pt x="375" y="862"/>
                </a:cubicBezTo>
                <a:cubicBezTo>
                  <a:pt x="374" y="845"/>
                  <a:pt x="375" y="827"/>
                  <a:pt x="374" y="810"/>
                </a:cubicBezTo>
                <a:cubicBezTo>
                  <a:pt x="375" y="806"/>
                  <a:pt x="374" y="792"/>
                  <a:pt x="375" y="786"/>
                </a:cubicBezTo>
                <a:cubicBezTo>
                  <a:pt x="374" y="781"/>
                  <a:pt x="374" y="777"/>
                  <a:pt x="374" y="775"/>
                </a:cubicBezTo>
                <a:cubicBezTo>
                  <a:pt x="374" y="715"/>
                  <a:pt x="374" y="653"/>
                  <a:pt x="374" y="591"/>
                </a:cubicBezTo>
                <a:cubicBezTo>
                  <a:pt x="373" y="562"/>
                  <a:pt x="374" y="528"/>
                  <a:pt x="374" y="493"/>
                </a:cubicBezTo>
                <a:cubicBezTo>
                  <a:pt x="374" y="493"/>
                  <a:pt x="374" y="493"/>
                  <a:pt x="374" y="493"/>
                </a:cubicBezTo>
                <a:cubicBezTo>
                  <a:pt x="373" y="482"/>
                  <a:pt x="373" y="466"/>
                  <a:pt x="373" y="453"/>
                </a:cubicBezTo>
                <a:cubicBezTo>
                  <a:pt x="373" y="441"/>
                  <a:pt x="373" y="441"/>
                  <a:pt x="373" y="441"/>
                </a:cubicBezTo>
                <a:cubicBezTo>
                  <a:pt x="374" y="361"/>
                  <a:pt x="373" y="279"/>
                  <a:pt x="374" y="197"/>
                </a:cubicBezTo>
                <a:cubicBezTo>
                  <a:pt x="374" y="129"/>
                  <a:pt x="374" y="66"/>
                  <a:pt x="374" y="2"/>
                </a:cubicBezTo>
                <a:cubicBezTo>
                  <a:pt x="374" y="0"/>
                  <a:pt x="374" y="0"/>
                  <a:pt x="374" y="0"/>
                </a:cubicBezTo>
                <a:cubicBezTo>
                  <a:pt x="372" y="0"/>
                  <a:pt x="372" y="0"/>
                  <a:pt x="372" y="0"/>
                </a:cubicBezTo>
                <a:cubicBezTo>
                  <a:pt x="350" y="0"/>
                  <a:pt x="327" y="0"/>
                  <a:pt x="303" y="1"/>
                </a:cubicBezTo>
                <a:cubicBezTo>
                  <a:pt x="303" y="1"/>
                  <a:pt x="303" y="1"/>
                  <a:pt x="305" y="1"/>
                </a:cubicBezTo>
                <a:cubicBezTo>
                  <a:pt x="279" y="1"/>
                  <a:pt x="255" y="0"/>
                  <a:pt x="231" y="1"/>
                </a:cubicBezTo>
                <a:cubicBezTo>
                  <a:pt x="231" y="1"/>
                  <a:pt x="231" y="1"/>
                  <a:pt x="231" y="1"/>
                </a:cubicBezTo>
                <a:cubicBezTo>
                  <a:pt x="170" y="2"/>
                  <a:pt x="104" y="0"/>
                  <a:pt x="45" y="2"/>
                </a:cubicBezTo>
                <a:cubicBezTo>
                  <a:pt x="32" y="2"/>
                  <a:pt x="18" y="2"/>
                  <a:pt x="2" y="2"/>
                </a:cubicBezTo>
                <a:cubicBezTo>
                  <a:pt x="2" y="2"/>
                  <a:pt x="2" y="2"/>
                  <a:pt x="2" y="2"/>
                </a:cubicBezTo>
                <a:cubicBezTo>
                  <a:pt x="2" y="2"/>
                  <a:pt x="2" y="2"/>
                  <a:pt x="2" y="2"/>
                </a:cubicBezTo>
                <a:cubicBezTo>
                  <a:pt x="2" y="61"/>
                  <a:pt x="2" y="126"/>
                  <a:pt x="2" y="187"/>
                </a:cubicBezTo>
                <a:cubicBezTo>
                  <a:pt x="2" y="187"/>
                  <a:pt x="2" y="187"/>
                  <a:pt x="2" y="187"/>
                </a:cubicBezTo>
                <a:cubicBezTo>
                  <a:pt x="2" y="247"/>
                  <a:pt x="1" y="306"/>
                  <a:pt x="1" y="366"/>
                </a:cubicBezTo>
                <a:cubicBezTo>
                  <a:pt x="1" y="428"/>
                  <a:pt x="3" y="494"/>
                  <a:pt x="2" y="557"/>
                </a:cubicBezTo>
                <a:cubicBezTo>
                  <a:pt x="1" y="595"/>
                  <a:pt x="4" y="646"/>
                  <a:pt x="2" y="683"/>
                </a:cubicBezTo>
                <a:cubicBezTo>
                  <a:pt x="0" y="757"/>
                  <a:pt x="2" y="830"/>
                  <a:pt x="3" y="905"/>
                </a:cubicBezTo>
                <a:cubicBezTo>
                  <a:pt x="3" y="917"/>
                  <a:pt x="3" y="929"/>
                  <a:pt x="3" y="941"/>
                </a:cubicBezTo>
                <a:cubicBezTo>
                  <a:pt x="2" y="941"/>
                  <a:pt x="2" y="941"/>
                  <a:pt x="2" y="941"/>
                </a:cubicBezTo>
                <a:cubicBezTo>
                  <a:pt x="59" y="941"/>
                  <a:pt x="115" y="940"/>
                  <a:pt x="171" y="941"/>
                </a:cubicBezTo>
                <a:cubicBezTo>
                  <a:pt x="202" y="940"/>
                  <a:pt x="237" y="942"/>
                  <a:pt x="272" y="942"/>
                </a:cubicBezTo>
                <a:cubicBezTo>
                  <a:pt x="271" y="941"/>
                  <a:pt x="271" y="941"/>
                  <a:pt x="271" y="941"/>
                </a:cubicBezTo>
                <a:cubicBezTo>
                  <a:pt x="284" y="942"/>
                  <a:pt x="299" y="940"/>
                  <a:pt x="307" y="941"/>
                </a:cubicBezTo>
                <a:cubicBezTo>
                  <a:pt x="306" y="941"/>
                  <a:pt x="306" y="941"/>
                  <a:pt x="306" y="941"/>
                </a:cubicBezTo>
                <a:cubicBezTo>
                  <a:pt x="313" y="942"/>
                  <a:pt x="321" y="940"/>
                  <a:pt x="325" y="941"/>
                </a:cubicBezTo>
                <a:cubicBezTo>
                  <a:pt x="327" y="940"/>
                  <a:pt x="327" y="940"/>
                  <a:pt x="327" y="940"/>
                </a:cubicBezTo>
                <a:cubicBezTo>
                  <a:pt x="335" y="940"/>
                  <a:pt x="327" y="941"/>
                  <a:pt x="334" y="941"/>
                </a:cubicBezTo>
                <a:cubicBezTo>
                  <a:pt x="336" y="941"/>
                  <a:pt x="335" y="940"/>
                  <a:pt x="340" y="940"/>
                </a:cubicBezTo>
                <a:cubicBezTo>
                  <a:pt x="341" y="942"/>
                  <a:pt x="359" y="940"/>
                  <a:pt x="360" y="942"/>
                </a:cubicBezTo>
                <a:cubicBezTo>
                  <a:pt x="356" y="942"/>
                  <a:pt x="367" y="942"/>
                  <a:pt x="357" y="943"/>
                </a:cubicBezTo>
                <a:cubicBezTo>
                  <a:pt x="360" y="943"/>
                  <a:pt x="373" y="943"/>
                  <a:pt x="372" y="942"/>
                </a:cubicBezTo>
                <a:cubicBezTo>
                  <a:pt x="373" y="941"/>
                  <a:pt x="379" y="941"/>
                  <a:pt x="370" y="940"/>
                </a:cubicBezTo>
                <a:cubicBezTo>
                  <a:pt x="369" y="941"/>
                  <a:pt x="369" y="941"/>
                  <a:pt x="369" y="941"/>
                </a:cubicBezTo>
                <a:cubicBezTo>
                  <a:pt x="366" y="940"/>
                  <a:pt x="367" y="940"/>
                  <a:pt x="366" y="940"/>
                </a:cubicBezTo>
                <a:cubicBezTo>
                  <a:pt x="355" y="940"/>
                  <a:pt x="353" y="939"/>
                  <a:pt x="346" y="939"/>
                </a:cubicBezTo>
                <a:cubicBezTo>
                  <a:pt x="346" y="939"/>
                  <a:pt x="346" y="939"/>
                  <a:pt x="346" y="939"/>
                </a:cubicBezTo>
                <a:cubicBezTo>
                  <a:pt x="340" y="940"/>
                  <a:pt x="333" y="939"/>
                  <a:pt x="329" y="939"/>
                </a:cubicBezTo>
                <a:cubicBezTo>
                  <a:pt x="327" y="939"/>
                  <a:pt x="327" y="939"/>
                  <a:pt x="327" y="939"/>
                </a:cubicBezTo>
                <a:cubicBezTo>
                  <a:pt x="325" y="938"/>
                  <a:pt x="315" y="940"/>
                  <a:pt x="318" y="939"/>
                </a:cubicBezTo>
                <a:cubicBezTo>
                  <a:pt x="296" y="939"/>
                  <a:pt x="271" y="939"/>
                  <a:pt x="247" y="939"/>
                </a:cubicBezTo>
                <a:cubicBezTo>
                  <a:pt x="243" y="940"/>
                  <a:pt x="228" y="939"/>
                  <a:pt x="233" y="940"/>
                </a:cubicBezTo>
                <a:cubicBezTo>
                  <a:pt x="227" y="939"/>
                  <a:pt x="209" y="939"/>
                  <a:pt x="202" y="939"/>
                </a:cubicBezTo>
                <a:cubicBezTo>
                  <a:pt x="202" y="939"/>
                  <a:pt x="203" y="939"/>
                  <a:pt x="204" y="939"/>
                </a:cubicBezTo>
                <a:cubicBezTo>
                  <a:pt x="191" y="938"/>
                  <a:pt x="188" y="940"/>
                  <a:pt x="176" y="938"/>
                </a:cubicBezTo>
                <a:cubicBezTo>
                  <a:pt x="174" y="939"/>
                  <a:pt x="153" y="938"/>
                  <a:pt x="146" y="939"/>
                </a:cubicBezTo>
                <a:cubicBezTo>
                  <a:pt x="145" y="939"/>
                  <a:pt x="144" y="939"/>
                  <a:pt x="145" y="939"/>
                </a:cubicBezTo>
                <a:cubicBezTo>
                  <a:pt x="123" y="939"/>
                  <a:pt x="98" y="938"/>
                  <a:pt x="80" y="938"/>
                </a:cubicBezTo>
                <a:cubicBezTo>
                  <a:pt x="64" y="939"/>
                  <a:pt x="41" y="938"/>
                  <a:pt x="27" y="939"/>
                </a:cubicBezTo>
                <a:cubicBezTo>
                  <a:pt x="21" y="939"/>
                  <a:pt x="12" y="939"/>
                  <a:pt x="2" y="939"/>
                </a:cubicBezTo>
                <a:cubicBezTo>
                  <a:pt x="3" y="939"/>
                  <a:pt x="4" y="940"/>
                  <a:pt x="5" y="941"/>
                </a:cubicBezTo>
                <a:cubicBezTo>
                  <a:pt x="5" y="934"/>
                  <a:pt x="5" y="927"/>
                  <a:pt x="4" y="920"/>
                </a:cubicBezTo>
                <a:cubicBezTo>
                  <a:pt x="5" y="922"/>
                  <a:pt x="5" y="922"/>
                  <a:pt x="5" y="922"/>
                </a:cubicBezTo>
                <a:cubicBezTo>
                  <a:pt x="5" y="904"/>
                  <a:pt x="4" y="881"/>
                  <a:pt x="4" y="869"/>
                </a:cubicBezTo>
                <a:cubicBezTo>
                  <a:pt x="5" y="864"/>
                  <a:pt x="5" y="856"/>
                  <a:pt x="5" y="848"/>
                </a:cubicBezTo>
                <a:cubicBezTo>
                  <a:pt x="4" y="836"/>
                  <a:pt x="5" y="812"/>
                  <a:pt x="4" y="793"/>
                </a:cubicBezTo>
                <a:cubicBezTo>
                  <a:pt x="5" y="791"/>
                  <a:pt x="4" y="778"/>
                  <a:pt x="5" y="777"/>
                </a:cubicBezTo>
                <a:cubicBezTo>
                  <a:pt x="3" y="726"/>
                  <a:pt x="4" y="663"/>
                  <a:pt x="5" y="608"/>
                </a:cubicBezTo>
                <a:cubicBezTo>
                  <a:pt x="5" y="609"/>
                  <a:pt x="5" y="609"/>
                  <a:pt x="5" y="609"/>
                </a:cubicBezTo>
                <a:cubicBezTo>
                  <a:pt x="4" y="602"/>
                  <a:pt x="4" y="593"/>
                  <a:pt x="3" y="586"/>
                </a:cubicBezTo>
                <a:cubicBezTo>
                  <a:pt x="3" y="585"/>
                  <a:pt x="3" y="585"/>
                  <a:pt x="3" y="587"/>
                </a:cubicBezTo>
                <a:cubicBezTo>
                  <a:pt x="3" y="577"/>
                  <a:pt x="4" y="568"/>
                  <a:pt x="4" y="558"/>
                </a:cubicBezTo>
                <a:cubicBezTo>
                  <a:pt x="4" y="558"/>
                  <a:pt x="4" y="558"/>
                  <a:pt x="4" y="559"/>
                </a:cubicBezTo>
                <a:cubicBezTo>
                  <a:pt x="4" y="550"/>
                  <a:pt x="5" y="540"/>
                  <a:pt x="4" y="529"/>
                </a:cubicBezTo>
                <a:cubicBezTo>
                  <a:pt x="4" y="528"/>
                  <a:pt x="4" y="528"/>
                  <a:pt x="4" y="528"/>
                </a:cubicBezTo>
                <a:cubicBezTo>
                  <a:pt x="4" y="521"/>
                  <a:pt x="4" y="521"/>
                  <a:pt x="4" y="521"/>
                </a:cubicBezTo>
                <a:cubicBezTo>
                  <a:pt x="4" y="521"/>
                  <a:pt x="4" y="522"/>
                  <a:pt x="4" y="525"/>
                </a:cubicBezTo>
                <a:cubicBezTo>
                  <a:pt x="5" y="439"/>
                  <a:pt x="3" y="351"/>
                  <a:pt x="3" y="263"/>
                </a:cubicBezTo>
                <a:cubicBezTo>
                  <a:pt x="4" y="266"/>
                  <a:pt x="4" y="266"/>
                  <a:pt x="4" y="266"/>
                </a:cubicBezTo>
                <a:cubicBezTo>
                  <a:pt x="3" y="249"/>
                  <a:pt x="3" y="249"/>
                  <a:pt x="3" y="249"/>
                </a:cubicBezTo>
                <a:cubicBezTo>
                  <a:pt x="3" y="249"/>
                  <a:pt x="3" y="250"/>
                  <a:pt x="4" y="250"/>
                </a:cubicBezTo>
                <a:cubicBezTo>
                  <a:pt x="4" y="229"/>
                  <a:pt x="3" y="206"/>
                  <a:pt x="3" y="185"/>
                </a:cubicBezTo>
                <a:cubicBezTo>
                  <a:pt x="4" y="185"/>
                  <a:pt x="4" y="188"/>
                  <a:pt x="4" y="185"/>
                </a:cubicBezTo>
                <a:cubicBezTo>
                  <a:pt x="3" y="169"/>
                  <a:pt x="5" y="160"/>
                  <a:pt x="3" y="152"/>
                </a:cubicBezTo>
                <a:cubicBezTo>
                  <a:pt x="3" y="151"/>
                  <a:pt x="4" y="151"/>
                  <a:pt x="4" y="152"/>
                </a:cubicBezTo>
                <a:cubicBezTo>
                  <a:pt x="3" y="109"/>
                  <a:pt x="3" y="64"/>
                  <a:pt x="4" y="20"/>
                </a:cubicBezTo>
                <a:cubicBezTo>
                  <a:pt x="3" y="14"/>
                  <a:pt x="3" y="8"/>
                  <a:pt x="3" y="2"/>
                </a:cubicBezTo>
                <a:cubicBezTo>
                  <a:pt x="3" y="2"/>
                  <a:pt x="3" y="3"/>
                  <a:pt x="2" y="3"/>
                </a:cubicBezTo>
                <a:cubicBezTo>
                  <a:pt x="34" y="2"/>
                  <a:pt x="68" y="3"/>
                  <a:pt x="100" y="2"/>
                </a:cubicBezTo>
                <a:cubicBezTo>
                  <a:pt x="100" y="3"/>
                  <a:pt x="100" y="3"/>
                  <a:pt x="100" y="3"/>
                </a:cubicBezTo>
                <a:cubicBezTo>
                  <a:pt x="149" y="2"/>
                  <a:pt x="202" y="3"/>
                  <a:pt x="253" y="2"/>
                </a:cubicBezTo>
                <a:cubicBezTo>
                  <a:pt x="274" y="3"/>
                  <a:pt x="288" y="2"/>
                  <a:pt x="310" y="2"/>
                </a:cubicBezTo>
                <a:cubicBezTo>
                  <a:pt x="310" y="3"/>
                  <a:pt x="310" y="3"/>
                  <a:pt x="310" y="3"/>
                </a:cubicBezTo>
                <a:cubicBezTo>
                  <a:pt x="330" y="2"/>
                  <a:pt x="351" y="2"/>
                  <a:pt x="372" y="3"/>
                </a:cubicBezTo>
                <a:cubicBezTo>
                  <a:pt x="372" y="2"/>
                  <a:pt x="372" y="2"/>
                  <a:pt x="372" y="2"/>
                </a:cubicBezTo>
                <a:cubicBezTo>
                  <a:pt x="371" y="19"/>
                  <a:pt x="371" y="36"/>
                  <a:pt x="372" y="53"/>
                </a:cubicBezTo>
                <a:cubicBezTo>
                  <a:pt x="371" y="51"/>
                  <a:pt x="371" y="51"/>
                  <a:pt x="371" y="51"/>
                </a:cubicBezTo>
                <a:cubicBezTo>
                  <a:pt x="372" y="56"/>
                  <a:pt x="371" y="73"/>
                  <a:pt x="372" y="71"/>
                </a:cubicBezTo>
                <a:cubicBezTo>
                  <a:pt x="372" y="78"/>
                  <a:pt x="372" y="78"/>
                  <a:pt x="372" y="78"/>
                </a:cubicBezTo>
                <a:cubicBezTo>
                  <a:pt x="374" y="103"/>
                  <a:pt x="371" y="124"/>
                  <a:pt x="372" y="155"/>
                </a:cubicBezTo>
                <a:cubicBezTo>
                  <a:pt x="372" y="153"/>
                  <a:pt x="372" y="153"/>
                  <a:pt x="372" y="153"/>
                </a:cubicBezTo>
                <a:cubicBezTo>
                  <a:pt x="372" y="161"/>
                  <a:pt x="372" y="171"/>
                  <a:pt x="372" y="177"/>
                </a:cubicBezTo>
                <a:cubicBezTo>
                  <a:pt x="372" y="176"/>
                  <a:pt x="372" y="177"/>
                  <a:pt x="372" y="175"/>
                </a:cubicBezTo>
                <a:cubicBezTo>
                  <a:pt x="371" y="201"/>
                  <a:pt x="372" y="230"/>
                  <a:pt x="372" y="257"/>
                </a:cubicBezTo>
                <a:cubicBezTo>
                  <a:pt x="371" y="254"/>
                  <a:pt x="371" y="254"/>
                  <a:pt x="371" y="254"/>
                </a:cubicBezTo>
                <a:cubicBezTo>
                  <a:pt x="372" y="267"/>
                  <a:pt x="372" y="292"/>
                  <a:pt x="372" y="309"/>
                </a:cubicBezTo>
                <a:cubicBezTo>
                  <a:pt x="372" y="308"/>
                  <a:pt x="372" y="308"/>
                  <a:pt x="372" y="308"/>
                </a:cubicBezTo>
                <a:cubicBezTo>
                  <a:pt x="372" y="317"/>
                  <a:pt x="372" y="317"/>
                  <a:pt x="372" y="317"/>
                </a:cubicBezTo>
                <a:cubicBezTo>
                  <a:pt x="371" y="317"/>
                  <a:pt x="371" y="317"/>
                  <a:pt x="371" y="317"/>
                </a:cubicBezTo>
                <a:cubicBezTo>
                  <a:pt x="371" y="340"/>
                  <a:pt x="372" y="361"/>
                  <a:pt x="372" y="383"/>
                </a:cubicBezTo>
                <a:close/>
              </a:path>
            </a:pathLst>
          </a:custGeom>
          <a:noFill/>
          <a:ln w="9525">
            <a:solidFill>
              <a:schemeClr val="bg2">
                <a:lumMod val="85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6">
            <a:extLst>
              <a:ext uri="{FF2B5EF4-FFF2-40B4-BE49-F238E27FC236}">
                <a16:creationId xmlns:a16="http://schemas.microsoft.com/office/drawing/2014/main" id="{9525DFA7-3F81-4393-BB7C-7FADFA448418}"/>
              </a:ext>
            </a:extLst>
          </p:cNvPr>
          <p:cNvSpPr>
            <a:spLocks/>
          </p:cNvSpPr>
          <p:nvPr/>
        </p:nvSpPr>
        <p:spPr bwMode="auto">
          <a:xfrm>
            <a:off x="348540" y="4205315"/>
            <a:ext cx="2647154" cy="1056143"/>
          </a:xfrm>
          <a:custGeom>
            <a:avLst/>
            <a:gdLst>
              <a:gd name="T0" fmla="*/ 371 w 379"/>
              <a:gd name="T1" fmla="*/ 382 h 943"/>
              <a:gd name="T2" fmla="*/ 372 w 379"/>
              <a:gd name="T3" fmla="*/ 446 h 943"/>
              <a:gd name="T4" fmla="*/ 372 w 379"/>
              <a:gd name="T5" fmla="*/ 605 h 943"/>
              <a:gd name="T6" fmla="*/ 372 w 379"/>
              <a:gd name="T7" fmla="*/ 612 h 943"/>
              <a:gd name="T8" fmla="*/ 373 w 379"/>
              <a:gd name="T9" fmla="*/ 656 h 943"/>
              <a:gd name="T10" fmla="*/ 373 w 379"/>
              <a:gd name="T11" fmla="*/ 790 h 943"/>
              <a:gd name="T12" fmla="*/ 374 w 379"/>
              <a:gd name="T13" fmla="*/ 905 h 943"/>
              <a:gd name="T14" fmla="*/ 375 w 379"/>
              <a:gd name="T15" fmla="*/ 873 h 943"/>
              <a:gd name="T16" fmla="*/ 375 w 379"/>
              <a:gd name="T17" fmla="*/ 862 h 943"/>
              <a:gd name="T18" fmla="*/ 375 w 379"/>
              <a:gd name="T19" fmla="*/ 786 h 943"/>
              <a:gd name="T20" fmla="*/ 374 w 379"/>
              <a:gd name="T21" fmla="*/ 591 h 943"/>
              <a:gd name="T22" fmla="*/ 374 w 379"/>
              <a:gd name="T23" fmla="*/ 493 h 943"/>
              <a:gd name="T24" fmla="*/ 373 w 379"/>
              <a:gd name="T25" fmla="*/ 441 h 943"/>
              <a:gd name="T26" fmla="*/ 374 w 379"/>
              <a:gd name="T27" fmla="*/ 2 h 943"/>
              <a:gd name="T28" fmla="*/ 372 w 379"/>
              <a:gd name="T29" fmla="*/ 0 h 943"/>
              <a:gd name="T30" fmla="*/ 305 w 379"/>
              <a:gd name="T31" fmla="*/ 1 h 943"/>
              <a:gd name="T32" fmla="*/ 231 w 379"/>
              <a:gd name="T33" fmla="*/ 1 h 943"/>
              <a:gd name="T34" fmla="*/ 2 w 379"/>
              <a:gd name="T35" fmla="*/ 2 h 943"/>
              <a:gd name="T36" fmla="*/ 2 w 379"/>
              <a:gd name="T37" fmla="*/ 2 h 943"/>
              <a:gd name="T38" fmla="*/ 2 w 379"/>
              <a:gd name="T39" fmla="*/ 187 h 943"/>
              <a:gd name="T40" fmla="*/ 2 w 379"/>
              <a:gd name="T41" fmla="*/ 557 h 943"/>
              <a:gd name="T42" fmla="*/ 3 w 379"/>
              <a:gd name="T43" fmla="*/ 905 h 943"/>
              <a:gd name="T44" fmla="*/ 2 w 379"/>
              <a:gd name="T45" fmla="*/ 941 h 943"/>
              <a:gd name="T46" fmla="*/ 272 w 379"/>
              <a:gd name="T47" fmla="*/ 942 h 943"/>
              <a:gd name="T48" fmla="*/ 307 w 379"/>
              <a:gd name="T49" fmla="*/ 941 h 943"/>
              <a:gd name="T50" fmla="*/ 325 w 379"/>
              <a:gd name="T51" fmla="*/ 941 h 943"/>
              <a:gd name="T52" fmla="*/ 334 w 379"/>
              <a:gd name="T53" fmla="*/ 941 h 943"/>
              <a:gd name="T54" fmla="*/ 360 w 379"/>
              <a:gd name="T55" fmla="*/ 942 h 943"/>
              <a:gd name="T56" fmla="*/ 372 w 379"/>
              <a:gd name="T57" fmla="*/ 942 h 943"/>
              <a:gd name="T58" fmla="*/ 369 w 379"/>
              <a:gd name="T59" fmla="*/ 941 h 943"/>
              <a:gd name="T60" fmla="*/ 346 w 379"/>
              <a:gd name="T61" fmla="*/ 939 h 943"/>
              <a:gd name="T62" fmla="*/ 329 w 379"/>
              <a:gd name="T63" fmla="*/ 939 h 943"/>
              <a:gd name="T64" fmla="*/ 318 w 379"/>
              <a:gd name="T65" fmla="*/ 939 h 943"/>
              <a:gd name="T66" fmla="*/ 233 w 379"/>
              <a:gd name="T67" fmla="*/ 940 h 943"/>
              <a:gd name="T68" fmla="*/ 204 w 379"/>
              <a:gd name="T69" fmla="*/ 939 h 943"/>
              <a:gd name="T70" fmla="*/ 146 w 379"/>
              <a:gd name="T71" fmla="*/ 939 h 943"/>
              <a:gd name="T72" fmla="*/ 80 w 379"/>
              <a:gd name="T73" fmla="*/ 938 h 943"/>
              <a:gd name="T74" fmla="*/ 2 w 379"/>
              <a:gd name="T75" fmla="*/ 939 h 943"/>
              <a:gd name="T76" fmla="*/ 4 w 379"/>
              <a:gd name="T77" fmla="*/ 920 h 943"/>
              <a:gd name="T78" fmla="*/ 4 w 379"/>
              <a:gd name="T79" fmla="*/ 869 h 943"/>
              <a:gd name="T80" fmla="*/ 4 w 379"/>
              <a:gd name="T81" fmla="*/ 793 h 943"/>
              <a:gd name="T82" fmla="*/ 5 w 379"/>
              <a:gd name="T83" fmla="*/ 608 h 943"/>
              <a:gd name="T84" fmla="*/ 3 w 379"/>
              <a:gd name="T85" fmla="*/ 586 h 943"/>
              <a:gd name="T86" fmla="*/ 4 w 379"/>
              <a:gd name="T87" fmla="*/ 558 h 943"/>
              <a:gd name="T88" fmla="*/ 4 w 379"/>
              <a:gd name="T89" fmla="*/ 529 h 943"/>
              <a:gd name="T90" fmla="*/ 4 w 379"/>
              <a:gd name="T91" fmla="*/ 521 h 943"/>
              <a:gd name="T92" fmla="*/ 3 w 379"/>
              <a:gd name="T93" fmla="*/ 263 h 943"/>
              <a:gd name="T94" fmla="*/ 3 w 379"/>
              <a:gd name="T95" fmla="*/ 249 h 943"/>
              <a:gd name="T96" fmla="*/ 3 w 379"/>
              <a:gd name="T97" fmla="*/ 185 h 943"/>
              <a:gd name="T98" fmla="*/ 3 w 379"/>
              <a:gd name="T99" fmla="*/ 152 h 943"/>
              <a:gd name="T100" fmla="*/ 4 w 379"/>
              <a:gd name="T101" fmla="*/ 20 h 943"/>
              <a:gd name="T102" fmla="*/ 2 w 379"/>
              <a:gd name="T103" fmla="*/ 3 h 943"/>
              <a:gd name="T104" fmla="*/ 100 w 379"/>
              <a:gd name="T105" fmla="*/ 3 h 943"/>
              <a:gd name="T106" fmla="*/ 310 w 379"/>
              <a:gd name="T107" fmla="*/ 2 h 943"/>
              <a:gd name="T108" fmla="*/ 372 w 379"/>
              <a:gd name="T109" fmla="*/ 3 h 943"/>
              <a:gd name="T110" fmla="*/ 372 w 379"/>
              <a:gd name="T111" fmla="*/ 53 h 943"/>
              <a:gd name="T112" fmla="*/ 372 w 379"/>
              <a:gd name="T113" fmla="*/ 71 h 943"/>
              <a:gd name="T114" fmla="*/ 372 w 379"/>
              <a:gd name="T115" fmla="*/ 155 h 943"/>
              <a:gd name="T116" fmla="*/ 372 w 379"/>
              <a:gd name="T117" fmla="*/ 177 h 943"/>
              <a:gd name="T118" fmla="*/ 372 w 379"/>
              <a:gd name="T119" fmla="*/ 257 h 943"/>
              <a:gd name="T120" fmla="*/ 372 w 379"/>
              <a:gd name="T121" fmla="*/ 309 h 943"/>
              <a:gd name="T122" fmla="*/ 372 w 379"/>
              <a:gd name="T123" fmla="*/ 317 h 943"/>
              <a:gd name="T124" fmla="*/ 372 w 379"/>
              <a:gd name="T125" fmla="*/ 383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79" h="943">
                <a:moveTo>
                  <a:pt x="372" y="383"/>
                </a:moveTo>
                <a:cubicBezTo>
                  <a:pt x="371" y="382"/>
                  <a:pt x="371" y="382"/>
                  <a:pt x="371" y="382"/>
                </a:cubicBezTo>
                <a:cubicBezTo>
                  <a:pt x="372" y="403"/>
                  <a:pt x="371" y="426"/>
                  <a:pt x="372" y="448"/>
                </a:cubicBezTo>
                <a:cubicBezTo>
                  <a:pt x="372" y="446"/>
                  <a:pt x="372" y="446"/>
                  <a:pt x="372" y="446"/>
                </a:cubicBezTo>
                <a:cubicBezTo>
                  <a:pt x="371" y="501"/>
                  <a:pt x="372" y="552"/>
                  <a:pt x="372" y="607"/>
                </a:cubicBezTo>
                <a:cubicBezTo>
                  <a:pt x="372" y="606"/>
                  <a:pt x="372" y="606"/>
                  <a:pt x="372" y="605"/>
                </a:cubicBezTo>
                <a:cubicBezTo>
                  <a:pt x="372" y="608"/>
                  <a:pt x="373" y="611"/>
                  <a:pt x="373" y="614"/>
                </a:cubicBezTo>
                <a:cubicBezTo>
                  <a:pt x="373" y="614"/>
                  <a:pt x="372" y="613"/>
                  <a:pt x="372" y="612"/>
                </a:cubicBezTo>
                <a:cubicBezTo>
                  <a:pt x="372" y="623"/>
                  <a:pt x="373" y="646"/>
                  <a:pt x="372" y="653"/>
                </a:cubicBezTo>
                <a:cubicBezTo>
                  <a:pt x="372" y="656"/>
                  <a:pt x="373" y="658"/>
                  <a:pt x="373" y="656"/>
                </a:cubicBezTo>
                <a:cubicBezTo>
                  <a:pt x="373" y="699"/>
                  <a:pt x="373" y="745"/>
                  <a:pt x="374" y="788"/>
                </a:cubicBezTo>
                <a:cubicBezTo>
                  <a:pt x="374" y="790"/>
                  <a:pt x="374" y="791"/>
                  <a:pt x="373" y="790"/>
                </a:cubicBezTo>
                <a:cubicBezTo>
                  <a:pt x="374" y="828"/>
                  <a:pt x="374" y="867"/>
                  <a:pt x="374" y="905"/>
                </a:cubicBezTo>
                <a:cubicBezTo>
                  <a:pt x="374" y="906"/>
                  <a:pt x="374" y="901"/>
                  <a:pt x="374" y="905"/>
                </a:cubicBezTo>
                <a:cubicBezTo>
                  <a:pt x="375" y="893"/>
                  <a:pt x="374" y="882"/>
                  <a:pt x="374" y="871"/>
                </a:cubicBezTo>
                <a:cubicBezTo>
                  <a:pt x="375" y="873"/>
                  <a:pt x="375" y="873"/>
                  <a:pt x="375" y="873"/>
                </a:cubicBezTo>
                <a:cubicBezTo>
                  <a:pt x="375" y="865"/>
                  <a:pt x="374" y="871"/>
                  <a:pt x="374" y="863"/>
                </a:cubicBezTo>
                <a:cubicBezTo>
                  <a:pt x="374" y="859"/>
                  <a:pt x="375" y="863"/>
                  <a:pt x="375" y="862"/>
                </a:cubicBezTo>
                <a:cubicBezTo>
                  <a:pt x="374" y="845"/>
                  <a:pt x="375" y="827"/>
                  <a:pt x="374" y="810"/>
                </a:cubicBezTo>
                <a:cubicBezTo>
                  <a:pt x="375" y="806"/>
                  <a:pt x="374" y="792"/>
                  <a:pt x="375" y="786"/>
                </a:cubicBezTo>
                <a:cubicBezTo>
                  <a:pt x="374" y="781"/>
                  <a:pt x="374" y="777"/>
                  <a:pt x="374" y="775"/>
                </a:cubicBezTo>
                <a:cubicBezTo>
                  <a:pt x="374" y="715"/>
                  <a:pt x="374" y="653"/>
                  <a:pt x="374" y="591"/>
                </a:cubicBezTo>
                <a:cubicBezTo>
                  <a:pt x="373" y="562"/>
                  <a:pt x="374" y="528"/>
                  <a:pt x="374" y="493"/>
                </a:cubicBezTo>
                <a:cubicBezTo>
                  <a:pt x="374" y="493"/>
                  <a:pt x="374" y="493"/>
                  <a:pt x="374" y="493"/>
                </a:cubicBezTo>
                <a:cubicBezTo>
                  <a:pt x="373" y="482"/>
                  <a:pt x="373" y="466"/>
                  <a:pt x="373" y="453"/>
                </a:cubicBezTo>
                <a:cubicBezTo>
                  <a:pt x="373" y="441"/>
                  <a:pt x="373" y="441"/>
                  <a:pt x="373" y="441"/>
                </a:cubicBezTo>
                <a:cubicBezTo>
                  <a:pt x="374" y="361"/>
                  <a:pt x="373" y="279"/>
                  <a:pt x="374" y="197"/>
                </a:cubicBezTo>
                <a:cubicBezTo>
                  <a:pt x="374" y="129"/>
                  <a:pt x="374" y="66"/>
                  <a:pt x="374" y="2"/>
                </a:cubicBezTo>
                <a:cubicBezTo>
                  <a:pt x="374" y="0"/>
                  <a:pt x="374" y="0"/>
                  <a:pt x="374" y="0"/>
                </a:cubicBezTo>
                <a:cubicBezTo>
                  <a:pt x="372" y="0"/>
                  <a:pt x="372" y="0"/>
                  <a:pt x="372" y="0"/>
                </a:cubicBezTo>
                <a:cubicBezTo>
                  <a:pt x="350" y="0"/>
                  <a:pt x="327" y="0"/>
                  <a:pt x="303" y="1"/>
                </a:cubicBezTo>
                <a:cubicBezTo>
                  <a:pt x="303" y="1"/>
                  <a:pt x="303" y="1"/>
                  <a:pt x="305" y="1"/>
                </a:cubicBezTo>
                <a:cubicBezTo>
                  <a:pt x="279" y="1"/>
                  <a:pt x="255" y="0"/>
                  <a:pt x="231" y="1"/>
                </a:cubicBezTo>
                <a:cubicBezTo>
                  <a:pt x="231" y="1"/>
                  <a:pt x="231" y="1"/>
                  <a:pt x="231" y="1"/>
                </a:cubicBezTo>
                <a:cubicBezTo>
                  <a:pt x="170" y="2"/>
                  <a:pt x="104" y="0"/>
                  <a:pt x="45" y="2"/>
                </a:cubicBezTo>
                <a:cubicBezTo>
                  <a:pt x="32" y="2"/>
                  <a:pt x="18" y="2"/>
                  <a:pt x="2" y="2"/>
                </a:cubicBezTo>
                <a:cubicBezTo>
                  <a:pt x="2" y="2"/>
                  <a:pt x="2" y="2"/>
                  <a:pt x="2" y="2"/>
                </a:cubicBezTo>
                <a:cubicBezTo>
                  <a:pt x="2" y="2"/>
                  <a:pt x="2" y="2"/>
                  <a:pt x="2" y="2"/>
                </a:cubicBezTo>
                <a:cubicBezTo>
                  <a:pt x="2" y="61"/>
                  <a:pt x="2" y="126"/>
                  <a:pt x="2" y="187"/>
                </a:cubicBezTo>
                <a:cubicBezTo>
                  <a:pt x="2" y="187"/>
                  <a:pt x="2" y="187"/>
                  <a:pt x="2" y="187"/>
                </a:cubicBezTo>
                <a:cubicBezTo>
                  <a:pt x="2" y="247"/>
                  <a:pt x="1" y="306"/>
                  <a:pt x="1" y="366"/>
                </a:cubicBezTo>
                <a:cubicBezTo>
                  <a:pt x="1" y="428"/>
                  <a:pt x="3" y="494"/>
                  <a:pt x="2" y="557"/>
                </a:cubicBezTo>
                <a:cubicBezTo>
                  <a:pt x="1" y="595"/>
                  <a:pt x="4" y="646"/>
                  <a:pt x="2" y="683"/>
                </a:cubicBezTo>
                <a:cubicBezTo>
                  <a:pt x="0" y="757"/>
                  <a:pt x="2" y="830"/>
                  <a:pt x="3" y="905"/>
                </a:cubicBezTo>
                <a:cubicBezTo>
                  <a:pt x="3" y="917"/>
                  <a:pt x="3" y="929"/>
                  <a:pt x="3" y="941"/>
                </a:cubicBezTo>
                <a:cubicBezTo>
                  <a:pt x="2" y="941"/>
                  <a:pt x="2" y="941"/>
                  <a:pt x="2" y="941"/>
                </a:cubicBezTo>
                <a:cubicBezTo>
                  <a:pt x="59" y="941"/>
                  <a:pt x="115" y="940"/>
                  <a:pt x="171" y="941"/>
                </a:cubicBezTo>
                <a:cubicBezTo>
                  <a:pt x="202" y="940"/>
                  <a:pt x="237" y="942"/>
                  <a:pt x="272" y="942"/>
                </a:cubicBezTo>
                <a:cubicBezTo>
                  <a:pt x="271" y="941"/>
                  <a:pt x="271" y="941"/>
                  <a:pt x="271" y="941"/>
                </a:cubicBezTo>
                <a:cubicBezTo>
                  <a:pt x="284" y="942"/>
                  <a:pt x="299" y="940"/>
                  <a:pt x="307" y="941"/>
                </a:cubicBezTo>
                <a:cubicBezTo>
                  <a:pt x="306" y="941"/>
                  <a:pt x="306" y="941"/>
                  <a:pt x="306" y="941"/>
                </a:cubicBezTo>
                <a:cubicBezTo>
                  <a:pt x="313" y="942"/>
                  <a:pt x="321" y="940"/>
                  <a:pt x="325" y="941"/>
                </a:cubicBezTo>
                <a:cubicBezTo>
                  <a:pt x="327" y="940"/>
                  <a:pt x="327" y="940"/>
                  <a:pt x="327" y="940"/>
                </a:cubicBezTo>
                <a:cubicBezTo>
                  <a:pt x="335" y="940"/>
                  <a:pt x="327" y="941"/>
                  <a:pt x="334" y="941"/>
                </a:cubicBezTo>
                <a:cubicBezTo>
                  <a:pt x="336" y="941"/>
                  <a:pt x="335" y="940"/>
                  <a:pt x="340" y="940"/>
                </a:cubicBezTo>
                <a:cubicBezTo>
                  <a:pt x="341" y="942"/>
                  <a:pt x="359" y="940"/>
                  <a:pt x="360" y="942"/>
                </a:cubicBezTo>
                <a:cubicBezTo>
                  <a:pt x="356" y="942"/>
                  <a:pt x="367" y="942"/>
                  <a:pt x="357" y="943"/>
                </a:cubicBezTo>
                <a:cubicBezTo>
                  <a:pt x="360" y="943"/>
                  <a:pt x="373" y="943"/>
                  <a:pt x="372" y="942"/>
                </a:cubicBezTo>
                <a:cubicBezTo>
                  <a:pt x="373" y="941"/>
                  <a:pt x="379" y="941"/>
                  <a:pt x="370" y="940"/>
                </a:cubicBezTo>
                <a:cubicBezTo>
                  <a:pt x="369" y="941"/>
                  <a:pt x="369" y="941"/>
                  <a:pt x="369" y="941"/>
                </a:cubicBezTo>
                <a:cubicBezTo>
                  <a:pt x="366" y="940"/>
                  <a:pt x="367" y="940"/>
                  <a:pt x="366" y="940"/>
                </a:cubicBezTo>
                <a:cubicBezTo>
                  <a:pt x="355" y="940"/>
                  <a:pt x="353" y="939"/>
                  <a:pt x="346" y="939"/>
                </a:cubicBezTo>
                <a:cubicBezTo>
                  <a:pt x="346" y="939"/>
                  <a:pt x="346" y="939"/>
                  <a:pt x="346" y="939"/>
                </a:cubicBezTo>
                <a:cubicBezTo>
                  <a:pt x="340" y="940"/>
                  <a:pt x="333" y="939"/>
                  <a:pt x="329" y="939"/>
                </a:cubicBezTo>
                <a:cubicBezTo>
                  <a:pt x="327" y="939"/>
                  <a:pt x="327" y="939"/>
                  <a:pt x="327" y="939"/>
                </a:cubicBezTo>
                <a:cubicBezTo>
                  <a:pt x="325" y="938"/>
                  <a:pt x="315" y="940"/>
                  <a:pt x="318" y="939"/>
                </a:cubicBezTo>
                <a:cubicBezTo>
                  <a:pt x="296" y="939"/>
                  <a:pt x="271" y="939"/>
                  <a:pt x="247" y="939"/>
                </a:cubicBezTo>
                <a:cubicBezTo>
                  <a:pt x="243" y="940"/>
                  <a:pt x="228" y="939"/>
                  <a:pt x="233" y="940"/>
                </a:cubicBezTo>
                <a:cubicBezTo>
                  <a:pt x="227" y="939"/>
                  <a:pt x="209" y="939"/>
                  <a:pt x="202" y="939"/>
                </a:cubicBezTo>
                <a:cubicBezTo>
                  <a:pt x="202" y="939"/>
                  <a:pt x="203" y="939"/>
                  <a:pt x="204" y="939"/>
                </a:cubicBezTo>
                <a:cubicBezTo>
                  <a:pt x="191" y="938"/>
                  <a:pt x="188" y="940"/>
                  <a:pt x="176" y="938"/>
                </a:cubicBezTo>
                <a:cubicBezTo>
                  <a:pt x="174" y="939"/>
                  <a:pt x="153" y="938"/>
                  <a:pt x="146" y="939"/>
                </a:cubicBezTo>
                <a:cubicBezTo>
                  <a:pt x="145" y="939"/>
                  <a:pt x="144" y="939"/>
                  <a:pt x="145" y="939"/>
                </a:cubicBezTo>
                <a:cubicBezTo>
                  <a:pt x="123" y="939"/>
                  <a:pt x="98" y="938"/>
                  <a:pt x="80" y="938"/>
                </a:cubicBezTo>
                <a:cubicBezTo>
                  <a:pt x="64" y="939"/>
                  <a:pt x="41" y="938"/>
                  <a:pt x="27" y="939"/>
                </a:cubicBezTo>
                <a:cubicBezTo>
                  <a:pt x="21" y="939"/>
                  <a:pt x="12" y="939"/>
                  <a:pt x="2" y="939"/>
                </a:cubicBezTo>
                <a:cubicBezTo>
                  <a:pt x="3" y="939"/>
                  <a:pt x="4" y="940"/>
                  <a:pt x="5" y="941"/>
                </a:cubicBezTo>
                <a:cubicBezTo>
                  <a:pt x="5" y="934"/>
                  <a:pt x="5" y="927"/>
                  <a:pt x="4" y="920"/>
                </a:cubicBezTo>
                <a:cubicBezTo>
                  <a:pt x="5" y="922"/>
                  <a:pt x="5" y="922"/>
                  <a:pt x="5" y="922"/>
                </a:cubicBezTo>
                <a:cubicBezTo>
                  <a:pt x="5" y="904"/>
                  <a:pt x="4" y="881"/>
                  <a:pt x="4" y="869"/>
                </a:cubicBezTo>
                <a:cubicBezTo>
                  <a:pt x="5" y="864"/>
                  <a:pt x="5" y="856"/>
                  <a:pt x="5" y="848"/>
                </a:cubicBezTo>
                <a:cubicBezTo>
                  <a:pt x="4" y="836"/>
                  <a:pt x="5" y="812"/>
                  <a:pt x="4" y="793"/>
                </a:cubicBezTo>
                <a:cubicBezTo>
                  <a:pt x="5" y="791"/>
                  <a:pt x="4" y="778"/>
                  <a:pt x="5" y="777"/>
                </a:cubicBezTo>
                <a:cubicBezTo>
                  <a:pt x="3" y="726"/>
                  <a:pt x="4" y="663"/>
                  <a:pt x="5" y="608"/>
                </a:cubicBezTo>
                <a:cubicBezTo>
                  <a:pt x="5" y="609"/>
                  <a:pt x="5" y="609"/>
                  <a:pt x="5" y="609"/>
                </a:cubicBezTo>
                <a:cubicBezTo>
                  <a:pt x="4" y="602"/>
                  <a:pt x="4" y="593"/>
                  <a:pt x="3" y="586"/>
                </a:cubicBezTo>
                <a:cubicBezTo>
                  <a:pt x="3" y="585"/>
                  <a:pt x="3" y="585"/>
                  <a:pt x="3" y="587"/>
                </a:cubicBezTo>
                <a:cubicBezTo>
                  <a:pt x="3" y="577"/>
                  <a:pt x="4" y="568"/>
                  <a:pt x="4" y="558"/>
                </a:cubicBezTo>
                <a:cubicBezTo>
                  <a:pt x="4" y="558"/>
                  <a:pt x="4" y="558"/>
                  <a:pt x="4" y="559"/>
                </a:cubicBezTo>
                <a:cubicBezTo>
                  <a:pt x="4" y="550"/>
                  <a:pt x="5" y="540"/>
                  <a:pt x="4" y="529"/>
                </a:cubicBezTo>
                <a:cubicBezTo>
                  <a:pt x="4" y="528"/>
                  <a:pt x="4" y="528"/>
                  <a:pt x="4" y="528"/>
                </a:cubicBezTo>
                <a:cubicBezTo>
                  <a:pt x="4" y="521"/>
                  <a:pt x="4" y="521"/>
                  <a:pt x="4" y="521"/>
                </a:cubicBezTo>
                <a:cubicBezTo>
                  <a:pt x="4" y="521"/>
                  <a:pt x="4" y="522"/>
                  <a:pt x="4" y="525"/>
                </a:cubicBezTo>
                <a:cubicBezTo>
                  <a:pt x="5" y="439"/>
                  <a:pt x="3" y="351"/>
                  <a:pt x="3" y="263"/>
                </a:cubicBezTo>
                <a:cubicBezTo>
                  <a:pt x="4" y="266"/>
                  <a:pt x="4" y="266"/>
                  <a:pt x="4" y="266"/>
                </a:cubicBezTo>
                <a:cubicBezTo>
                  <a:pt x="3" y="249"/>
                  <a:pt x="3" y="249"/>
                  <a:pt x="3" y="249"/>
                </a:cubicBezTo>
                <a:cubicBezTo>
                  <a:pt x="3" y="249"/>
                  <a:pt x="3" y="250"/>
                  <a:pt x="4" y="250"/>
                </a:cubicBezTo>
                <a:cubicBezTo>
                  <a:pt x="4" y="229"/>
                  <a:pt x="3" y="206"/>
                  <a:pt x="3" y="185"/>
                </a:cubicBezTo>
                <a:cubicBezTo>
                  <a:pt x="4" y="185"/>
                  <a:pt x="4" y="188"/>
                  <a:pt x="4" y="185"/>
                </a:cubicBezTo>
                <a:cubicBezTo>
                  <a:pt x="3" y="169"/>
                  <a:pt x="5" y="160"/>
                  <a:pt x="3" y="152"/>
                </a:cubicBezTo>
                <a:cubicBezTo>
                  <a:pt x="3" y="151"/>
                  <a:pt x="4" y="151"/>
                  <a:pt x="4" y="152"/>
                </a:cubicBezTo>
                <a:cubicBezTo>
                  <a:pt x="3" y="109"/>
                  <a:pt x="3" y="64"/>
                  <a:pt x="4" y="20"/>
                </a:cubicBezTo>
                <a:cubicBezTo>
                  <a:pt x="3" y="14"/>
                  <a:pt x="3" y="8"/>
                  <a:pt x="3" y="2"/>
                </a:cubicBezTo>
                <a:cubicBezTo>
                  <a:pt x="3" y="2"/>
                  <a:pt x="3" y="3"/>
                  <a:pt x="2" y="3"/>
                </a:cubicBezTo>
                <a:cubicBezTo>
                  <a:pt x="34" y="2"/>
                  <a:pt x="68" y="3"/>
                  <a:pt x="100" y="2"/>
                </a:cubicBezTo>
                <a:cubicBezTo>
                  <a:pt x="100" y="3"/>
                  <a:pt x="100" y="3"/>
                  <a:pt x="100" y="3"/>
                </a:cubicBezTo>
                <a:cubicBezTo>
                  <a:pt x="149" y="2"/>
                  <a:pt x="202" y="3"/>
                  <a:pt x="253" y="2"/>
                </a:cubicBezTo>
                <a:cubicBezTo>
                  <a:pt x="274" y="3"/>
                  <a:pt x="288" y="2"/>
                  <a:pt x="310" y="2"/>
                </a:cubicBezTo>
                <a:cubicBezTo>
                  <a:pt x="310" y="3"/>
                  <a:pt x="310" y="3"/>
                  <a:pt x="310" y="3"/>
                </a:cubicBezTo>
                <a:cubicBezTo>
                  <a:pt x="330" y="2"/>
                  <a:pt x="351" y="2"/>
                  <a:pt x="372" y="3"/>
                </a:cubicBezTo>
                <a:cubicBezTo>
                  <a:pt x="372" y="2"/>
                  <a:pt x="372" y="2"/>
                  <a:pt x="372" y="2"/>
                </a:cubicBezTo>
                <a:cubicBezTo>
                  <a:pt x="371" y="19"/>
                  <a:pt x="371" y="36"/>
                  <a:pt x="372" y="53"/>
                </a:cubicBezTo>
                <a:cubicBezTo>
                  <a:pt x="371" y="51"/>
                  <a:pt x="371" y="51"/>
                  <a:pt x="371" y="51"/>
                </a:cubicBezTo>
                <a:cubicBezTo>
                  <a:pt x="372" y="56"/>
                  <a:pt x="371" y="73"/>
                  <a:pt x="372" y="71"/>
                </a:cubicBezTo>
                <a:cubicBezTo>
                  <a:pt x="372" y="78"/>
                  <a:pt x="372" y="78"/>
                  <a:pt x="372" y="78"/>
                </a:cubicBezTo>
                <a:cubicBezTo>
                  <a:pt x="374" y="103"/>
                  <a:pt x="371" y="124"/>
                  <a:pt x="372" y="155"/>
                </a:cubicBezTo>
                <a:cubicBezTo>
                  <a:pt x="372" y="153"/>
                  <a:pt x="372" y="153"/>
                  <a:pt x="372" y="153"/>
                </a:cubicBezTo>
                <a:cubicBezTo>
                  <a:pt x="372" y="161"/>
                  <a:pt x="372" y="171"/>
                  <a:pt x="372" y="177"/>
                </a:cubicBezTo>
                <a:cubicBezTo>
                  <a:pt x="372" y="176"/>
                  <a:pt x="372" y="177"/>
                  <a:pt x="372" y="175"/>
                </a:cubicBezTo>
                <a:cubicBezTo>
                  <a:pt x="371" y="201"/>
                  <a:pt x="372" y="230"/>
                  <a:pt x="372" y="257"/>
                </a:cubicBezTo>
                <a:cubicBezTo>
                  <a:pt x="371" y="254"/>
                  <a:pt x="371" y="254"/>
                  <a:pt x="371" y="254"/>
                </a:cubicBezTo>
                <a:cubicBezTo>
                  <a:pt x="372" y="267"/>
                  <a:pt x="372" y="292"/>
                  <a:pt x="372" y="309"/>
                </a:cubicBezTo>
                <a:cubicBezTo>
                  <a:pt x="372" y="308"/>
                  <a:pt x="372" y="308"/>
                  <a:pt x="372" y="308"/>
                </a:cubicBezTo>
                <a:cubicBezTo>
                  <a:pt x="372" y="317"/>
                  <a:pt x="372" y="317"/>
                  <a:pt x="372" y="317"/>
                </a:cubicBezTo>
                <a:cubicBezTo>
                  <a:pt x="371" y="317"/>
                  <a:pt x="371" y="317"/>
                  <a:pt x="371" y="317"/>
                </a:cubicBezTo>
                <a:cubicBezTo>
                  <a:pt x="371" y="340"/>
                  <a:pt x="372" y="361"/>
                  <a:pt x="372" y="383"/>
                </a:cubicBezTo>
                <a:close/>
              </a:path>
            </a:pathLst>
          </a:custGeom>
          <a:noFill/>
          <a:ln w="9525">
            <a:solidFill>
              <a:schemeClr val="bg2">
                <a:lumMod val="85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6">
            <a:extLst>
              <a:ext uri="{FF2B5EF4-FFF2-40B4-BE49-F238E27FC236}">
                <a16:creationId xmlns:a16="http://schemas.microsoft.com/office/drawing/2014/main" id="{2EB32785-D378-48BB-9947-CFAF009125C7}"/>
              </a:ext>
            </a:extLst>
          </p:cNvPr>
          <p:cNvSpPr>
            <a:spLocks/>
          </p:cNvSpPr>
          <p:nvPr/>
        </p:nvSpPr>
        <p:spPr bwMode="auto">
          <a:xfrm>
            <a:off x="9126582" y="4344250"/>
            <a:ext cx="2330587" cy="956289"/>
          </a:xfrm>
          <a:custGeom>
            <a:avLst/>
            <a:gdLst>
              <a:gd name="T0" fmla="*/ 371 w 379"/>
              <a:gd name="T1" fmla="*/ 382 h 943"/>
              <a:gd name="T2" fmla="*/ 372 w 379"/>
              <a:gd name="T3" fmla="*/ 446 h 943"/>
              <a:gd name="T4" fmla="*/ 372 w 379"/>
              <a:gd name="T5" fmla="*/ 605 h 943"/>
              <a:gd name="T6" fmla="*/ 372 w 379"/>
              <a:gd name="T7" fmla="*/ 612 h 943"/>
              <a:gd name="T8" fmla="*/ 373 w 379"/>
              <a:gd name="T9" fmla="*/ 656 h 943"/>
              <a:gd name="T10" fmla="*/ 373 w 379"/>
              <a:gd name="T11" fmla="*/ 790 h 943"/>
              <a:gd name="T12" fmla="*/ 374 w 379"/>
              <a:gd name="T13" fmla="*/ 905 h 943"/>
              <a:gd name="T14" fmla="*/ 375 w 379"/>
              <a:gd name="T15" fmla="*/ 873 h 943"/>
              <a:gd name="T16" fmla="*/ 375 w 379"/>
              <a:gd name="T17" fmla="*/ 862 h 943"/>
              <a:gd name="T18" fmla="*/ 375 w 379"/>
              <a:gd name="T19" fmla="*/ 786 h 943"/>
              <a:gd name="T20" fmla="*/ 374 w 379"/>
              <a:gd name="T21" fmla="*/ 591 h 943"/>
              <a:gd name="T22" fmla="*/ 374 w 379"/>
              <a:gd name="T23" fmla="*/ 493 h 943"/>
              <a:gd name="T24" fmla="*/ 373 w 379"/>
              <a:gd name="T25" fmla="*/ 441 h 943"/>
              <a:gd name="T26" fmla="*/ 374 w 379"/>
              <a:gd name="T27" fmla="*/ 2 h 943"/>
              <a:gd name="T28" fmla="*/ 372 w 379"/>
              <a:gd name="T29" fmla="*/ 0 h 943"/>
              <a:gd name="T30" fmla="*/ 305 w 379"/>
              <a:gd name="T31" fmla="*/ 1 h 943"/>
              <a:gd name="T32" fmla="*/ 231 w 379"/>
              <a:gd name="T33" fmla="*/ 1 h 943"/>
              <a:gd name="T34" fmla="*/ 2 w 379"/>
              <a:gd name="T35" fmla="*/ 2 h 943"/>
              <a:gd name="T36" fmla="*/ 2 w 379"/>
              <a:gd name="T37" fmla="*/ 2 h 943"/>
              <a:gd name="T38" fmla="*/ 2 w 379"/>
              <a:gd name="T39" fmla="*/ 187 h 943"/>
              <a:gd name="T40" fmla="*/ 2 w 379"/>
              <a:gd name="T41" fmla="*/ 557 h 943"/>
              <a:gd name="T42" fmla="*/ 3 w 379"/>
              <a:gd name="T43" fmla="*/ 905 h 943"/>
              <a:gd name="T44" fmla="*/ 2 w 379"/>
              <a:gd name="T45" fmla="*/ 941 h 943"/>
              <a:gd name="T46" fmla="*/ 272 w 379"/>
              <a:gd name="T47" fmla="*/ 942 h 943"/>
              <a:gd name="T48" fmla="*/ 307 w 379"/>
              <a:gd name="T49" fmla="*/ 941 h 943"/>
              <a:gd name="T50" fmla="*/ 325 w 379"/>
              <a:gd name="T51" fmla="*/ 941 h 943"/>
              <a:gd name="T52" fmla="*/ 334 w 379"/>
              <a:gd name="T53" fmla="*/ 941 h 943"/>
              <a:gd name="T54" fmla="*/ 360 w 379"/>
              <a:gd name="T55" fmla="*/ 942 h 943"/>
              <a:gd name="T56" fmla="*/ 372 w 379"/>
              <a:gd name="T57" fmla="*/ 942 h 943"/>
              <a:gd name="T58" fmla="*/ 369 w 379"/>
              <a:gd name="T59" fmla="*/ 941 h 943"/>
              <a:gd name="T60" fmla="*/ 346 w 379"/>
              <a:gd name="T61" fmla="*/ 939 h 943"/>
              <a:gd name="T62" fmla="*/ 329 w 379"/>
              <a:gd name="T63" fmla="*/ 939 h 943"/>
              <a:gd name="T64" fmla="*/ 318 w 379"/>
              <a:gd name="T65" fmla="*/ 939 h 943"/>
              <a:gd name="T66" fmla="*/ 233 w 379"/>
              <a:gd name="T67" fmla="*/ 940 h 943"/>
              <a:gd name="T68" fmla="*/ 204 w 379"/>
              <a:gd name="T69" fmla="*/ 939 h 943"/>
              <a:gd name="T70" fmla="*/ 146 w 379"/>
              <a:gd name="T71" fmla="*/ 939 h 943"/>
              <a:gd name="T72" fmla="*/ 80 w 379"/>
              <a:gd name="T73" fmla="*/ 938 h 943"/>
              <a:gd name="T74" fmla="*/ 2 w 379"/>
              <a:gd name="T75" fmla="*/ 939 h 943"/>
              <a:gd name="T76" fmla="*/ 4 w 379"/>
              <a:gd name="T77" fmla="*/ 920 h 943"/>
              <a:gd name="T78" fmla="*/ 4 w 379"/>
              <a:gd name="T79" fmla="*/ 869 h 943"/>
              <a:gd name="T80" fmla="*/ 4 w 379"/>
              <a:gd name="T81" fmla="*/ 793 h 943"/>
              <a:gd name="T82" fmla="*/ 5 w 379"/>
              <a:gd name="T83" fmla="*/ 608 h 943"/>
              <a:gd name="T84" fmla="*/ 3 w 379"/>
              <a:gd name="T85" fmla="*/ 586 h 943"/>
              <a:gd name="T86" fmla="*/ 4 w 379"/>
              <a:gd name="T87" fmla="*/ 558 h 943"/>
              <a:gd name="T88" fmla="*/ 4 w 379"/>
              <a:gd name="T89" fmla="*/ 529 h 943"/>
              <a:gd name="T90" fmla="*/ 4 w 379"/>
              <a:gd name="T91" fmla="*/ 521 h 943"/>
              <a:gd name="T92" fmla="*/ 3 w 379"/>
              <a:gd name="T93" fmla="*/ 263 h 943"/>
              <a:gd name="T94" fmla="*/ 3 w 379"/>
              <a:gd name="T95" fmla="*/ 249 h 943"/>
              <a:gd name="T96" fmla="*/ 3 w 379"/>
              <a:gd name="T97" fmla="*/ 185 h 943"/>
              <a:gd name="T98" fmla="*/ 3 w 379"/>
              <a:gd name="T99" fmla="*/ 152 h 943"/>
              <a:gd name="T100" fmla="*/ 4 w 379"/>
              <a:gd name="T101" fmla="*/ 20 h 943"/>
              <a:gd name="T102" fmla="*/ 2 w 379"/>
              <a:gd name="T103" fmla="*/ 3 h 943"/>
              <a:gd name="T104" fmla="*/ 100 w 379"/>
              <a:gd name="T105" fmla="*/ 3 h 943"/>
              <a:gd name="T106" fmla="*/ 310 w 379"/>
              <a:gd name="T107" fmla="*/ 2 h 943"/>
              <a:gd name="T108" fmla="*/ 372 w 379"/>
              <a:gd name="T109" fmla="*/ 3 h 943"/>
              <a:gd name="T110" fmla="*/ 372 w 379"/>
              <a:gd name="T111" fmla="*/ 53 h 943"/>
              <a:gd name="T112" fmla="*/ 372 w 379"/>
              <a:gd name="T113" fmla="*/ 71 h 943"/>
              <a:gd name="T114" fmla="*/ 372 w 379"/>
              <a:gd name="T115" fmla="*/ 155 h 943"/>
              <a:gd name="T116" fmla="*/ 372 w 379"/>
              <a:gd name="T117" fmla="*/ 177 h 943"/>
              <a:gd name="T118" fmla="*/ 372 w 379"/>
              <a:gd name="T119" fmla="*/ 257 h 943"/>
              <a:gd name="T120" fmla="*/ 372 w 379"/>
              <a:gd name="T121" fmla="*/ 309 h 943"/>
              <a:gd name="T122" fmla="*/ 372 w 379"/>
              <a:gd name="T123" fmla="*/ 317 h 943"/>
              <a:gd name="T124" fmla="*/ 372 w 379"/>
              <a:gd name="T125" fmla="*/ 383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79" h="943">
                <a:moveTo>
                  <a:pt x="372" y="383"/>
                </a:moveTo>
                <a:cubicBezTo>
                  <a:pt x="371" y="382"/>
                  <a:pt x="371" y="382"/>
                  <a:pt x="371" y="382"/>
                </a:cubicBezTo>
                <a:cubicBezTo>
                  <a:pt x="372" y="403"/>
                  <a:pt x="371" y="426"/>
                  <a:pt x="372" y="448"/>
                </a:cubicBezTo>
                <a:cubicBezTo>
                  <a:pt x="372" y="446"/>
                  <a:pt x="372" y="446"/>
                  <a:pt x="372" y="446"/>
                </a:cubicBezTo>
                <a:cubicBezTo>
                  <a:pt x="371" y="501"/>
                  <a:pt x="372" y="552"/>
                  <a:pt x="372" y="607"/>
                </a:cubicBezTo>
                <a:cubicBezTo>
                  <a:pt x="372" y="606"/>
                  <a:pt x="372" y="606"/>
                  <a:pt x="372" y="605"/>
                </a:cubicBezTo>
                <a:cubicBezTo>
                  <a:pt x="372" y="608"/>
                  <a:pt x="373" y="611"/>
                  <a:pt x="373" y="614"/>
                </a:cubicBezTo>
                <a:cubicBezTo>
                  <a:pt x="373" y="614"/>
                  <a:pt x="372" y="613"/>
                  <a:pt x="372" y="612"/>
                </a:cubicBezTo>
                <a:cubicBezTo>
                  <a:pt x="372" y="623"/>
                  <a:pt x="373" y="646"/>
                  <a:pt x="372" y="653"/>
                </a:cubicBezTo>
                <a:cubicBezTo>
                  <a:pt x="372" y="656"/>
                  <a:pt x="373" y="658"/>
                  <a:pt x="373" y="656"/>
                </a:cubicBezTo>
                <a:cubicBezTo>
                  <a:pt x="373" y="699"/>
                  <a:pt x="373" y="745"/>
                  <a:pt x="374" y="788"/>
                </a:cubicBezTo>
                <a:cubicBezTo>
                  <a:pt x="374" y="790"/>
                  <a:pt x="374" y="791"/>
                  <a:pt x="373" y="790"/>
                </a:cubicBezTo>
                <a:cubicBezTo>
                  <a:pt x="374" y="828"/>
                  <a:pt x="374" y="867"/>
                  <a:pt x="374" y="905"/>
                </a:cubicBezTo>
                <a:cubicBezTo>
                  <a:pt x="374" y="906"/>
                  <a:pt x="374" y="901"/>
                  <a:pt x="374" y="905"/>
                </a:cubicBezTo>
                <a:cubicBezTo>
                  <a:pt x="375" y="893"/>
                  <a:pt x="374" y="882"/>
                  <a:pt x="374" y="871"/>
                </a:cubicBezTo>
                <a:cubicBezTo>
                  <a:pt x="375" y="873"/>
                  <a:pt x="375" y="873"/>
                  <a:pt x="375" y="873"/>
                </a:cubicBezTo>
                <a:cubicBezTo>
                  <a:pt x="375" y="865"/>
                  <a:pt x="374" y="871"/>
                  <a:pt x="374" y="863"/>
                </a:cubicBezTo>
                <a:cubicBezTo>
                  <a:pt x="374" y="859"/>
                  <a:pt x="375" y="863"/>
                  <a:pt x="375" y="862"/>
                </a:cubicBezTo>
                <a:cubicBezTo>
                  <a:pt x="374" y="845"/>
                  <a:pt x="375" y="827"/>
                  <a:pt x="374" y="810"/>
                </a:cubicBezTo>
                <a:cubicBezTo>
                  <a:pt x="375" y="806"/>
                  <a:pt x="374" y="792"/>
                  <a:pt x="375" y="786"/>
                </a:cubicBezTo>
                <a:cubicBezTo>
                  <a:pt x="374" y="781"/>
                  <a:pt x="374" y="777"/>
                  <a:pt x="374" y="775"/>
                </a:cubicBezTo>
                <a:cubicBezTo>
                  <a:pt x="374" y="715"/>
                  <a:pt x="374" y="653"/>
                  <a:pt x="374" y="591"/>
                </a:cubicBezTo>
                <a:cubicBezTo>
                  <a:pt x="373" y="562"/>
                  <a:pt x="374" y="528"/>
                  <a:pt x="374" y="493"/>
                </a:cubicBezTo>
                <a:cubicBezTo>
                  <a:pt x="374" y="493"/>
                  <a:pt x="374" y="493"/>
                  <a:pt x="374" y="493"/>
                </a:cubicBezTo>
                <a:cubicBezTo>
                  <a:pt x="373" y="482"/>
                  <a:pt x="373" y="466"/>
                  <a:pt x="373" y="453"/>
                </a:cubicBezTo>
                <a:cubicBezTo>
                  <a:pt x="373" y="441"/>
                  <a:pt x="373" y="441"/>
                  <a:pt x="373" y="441"/>
                </a:cubicBezTo>
                <a:cubicBezTo>
                  <a:pt x="374" y="361"/>
                  <a:pt x="373" y="279"/>
                  <a:pt x="374" y="197"/>
                </a:cubicBezTo>
                <a:cubicBezTo>
                  <a:pt x="374" y="129"/>
                  <a:pt x="374" y="66"/>
                  <a:pt x="374" y="2"/>
                </a:cubicBezTo>
                <a:cubicBezTo>
                  <a:pt x="374" y="0"/>
                  <a:pt x="374" y="0"/>
                  <a:pt x="374" y="0"/>
                </a:cubicBezTo>
                <a:cubicBezTo>
                  <a:pt x="372" y="0"/>
                  <a:pt x="372" y="0"/>
                  <a:pt x="372" y="0"/>
                </a:cubicBezTo>
                <a:cubicBezTo>
                  <a:pt x="350" y="0"/>
                  <a:pt x="327" y="0"/>
                  <a:pt x="303" y="1"/>
                </a:cubicBezTo>
                <a:cubicBezTo>
                  <a:pt x="303" y="1"/>
                  <a:pt x="303" y="1"/>
                  <a:pt x="305" y="1"/>
                </a:cubicBezTo>
                <a:cubicBezTo>
                  <a:pt x="279" y="1"/>
                  <a:pt x="255" y="0"/>
                  <a:pt x="231" y="1"/>
                </a:cubicBezTo>
                <a:cubicBezTo>
                  <a:pt x="231" y="1"/>
                  <a:pt x="231" y="1"/>
                  <a:pt x="231" y="1"/>
                </a:cubicBezTo>
                <a:cubicBezTo>
                  <a:pt x="170" y="2"/>
                  <a:pt x="104" y="0"/>
                  <a:pt x="45" y="2"/>
                </a:cubicBezTo>
                <a:cubicBezTo>
                  <a:pt x="32" y="2"/>
                  <a:pt x="18" y="2"/>
                  <a:pt x="2" y="2"/>
                </a:cubicBezTo>
                <a:cubicBezTo>
                  <a:pt x="2" y="2"/>
                  <a:pt x="2" y="2"/>
                  <a:pt x="2" y="2"/>
                </a:cubicBezTo>
                <a:cubicBezTo>
                  <a:pt x="2" y="2"/>
                  <a:pt x="2" y="2"/>
                  <a:pt x="2" y="2"/>
                </a:cubicBezTo>
                <a:cubicBezTo>
                  <a:pt x="2" y="61"/>
                  <a:pt x="2" y="126"/>
                  <a:pt x="2" y="187"/>
                </a:cubicBezTo>
                <a:cubicBezTo>
                  <a:pt x="2" y="187"/>
                  <a:pt x="2" y="187"/>
                  <a:pt x="2" y="187"/>
                </a:cubicBezTo>
                <a:cubicBezTo>
                  <a:pt x="2" y="247"/>
                  <a:pt x="1" y="306"/>
                  <a:pt x="1" y="366"/>
                </a:cubicBezTo>
                <a:cubicBezTo>
                  <a:pt x="1" y="428"/>
                  <a:pt x="3" y="494"/>
                  <a:pt x="2" y="557"/>
                </a:cubicBezTo>
                <a:cubicBezTo>
                  <a:pt x="1" y="595"/>
                  <a:pt x="4" y="646"/>
                  <a:pt x="2" y="683"/>
                </a:cubicBezTo>
                <a:cubicBezTo>
                  <a:pt x="0" y="757"/>
                  <a:pt x="2" y="830"/>
                  <a:pt x="3" y="905"/>
                </a:cubicBezTo>
                <a:cubicBezTo>
                  <a:pt x="3" y="917"/>
                  <a:pt x="3" y="929"/>
                  <a:pt x="3" y="941"/>
                </a:cubicBezTo>
                <a:cubicBezTo>
                  <a:pt x="2" y="941"/>
                  <a:pt x="2" y="941"/>
                  <a:pt x="2" y="941"/>
                </a:cubicBezTo>
                <a:cubicBezTo>
                  <a:pt x="59" y="941"/>
                  <a:pt x="115" y="940"/>
                  <a:pt x="171" y="941"/>
                </a:cubicBezTo>
                <a:cubicBezTo>
                  <a:pt x="202" y="940"/>
                  <a:pt x="237" y="942"/>
                  <a:pt x="272" y="942"/>
                </a:cubicBezTo>
                <a:cubicBezTo>
                  <a:pt x="271" y="941"/>
                  <a:pt x="271" y="941"/>
                  <a:pt x="271" y="941"/>
                </a:cubicBezTo>
                <a:cubicBezTo>
                  <a:pt x="284" y="942"/>
                  <a:pt x="299" y="940"/>
                  <a:pt x="307" y="941"/>
                </a:cubicBezTo>
                <a:cubicBezTo>
                  <a:pt x="306" y="941"/>
                  <a:pt x="306" y="941"/>
                  <a:pt x="306" y="941"/>
                </a:cubicBezTo>
                <a:cubicBezTo>
                  <a:pt x="313" y="942"/>
                  <a:pt x="321" y="940"/>
                  <a:pt x="325" y="941"/>
                </a:cubicBezTo>
                <a:cubicBezTo>
                  <a:pt x="327" y="940"/>
                  <a:pt x="327" y="940"/>
                  <a:pt x="327" y="940"/>
                </a:cubicBezTo>
                <a:cubicBezTo>
                  <a:pt x="335" y="940"/>
                  <a:pt x="327" y="941"/>
                  <a:pt x="334" y="941"/>
                </a:cubicBezTo>
                <a:cubicBezTo>
                  <a:pt x="336" y="941"/>
                  <a:pt x="335" y="940"/>
                  <a:pt x="340" y="940"/>
                </a:cubicBezTo>
                <a:cubicBezTo>
                  <a:pt x="341" y="942"/>
                  <a:pt x="359" y="940"/>
                  <a:pt x="360" y="942"/>
                </a:cubicBezTo>
                <a:cubicBezTo>
                  <a:pt x="356" y="942"/>
                  <a:pt x="367" y="942"/>
                  <a:pt x="357" y="943"/>
                </a:cubicBezTo>
                <a:cubicBezTo>
                  <a:pt x="360" y="943"/>
                  <a:pt x="373" y="943"/>
                  <a:pt x="372" y="942"/>
                </a:cubicBezTo>
                <a:cubicBezTo>
                  <a:pt x="373" y="941"/>
                  <a:pt x="379" y="941"/>
                  <a:pt x="370" y="940"/>
                </a:cubicBezTo>
                <a:cubicBezTo>
                  <a:pt x="369" y="941"/>
                  <a:pt x="369" y="941"/>
                  <a:pt x="369" y="941"/>
                </a:cubicBezTo>
                <a:cubicBezTo>
                  <a:pt x="366" y="940"/>
                  <a:pt x="367" y="940"/>
                  <a:pt x="366" y="940"/>
                </a:cubicBezTo>
                <a:cubicBezTo>
                  <a:pt x="355" y="940"/>
                  <a:pt x="353" y="939"/>
                  <a:pt x="346" y="939"/>
                </a:cubicBezTo>
                <a:cubicBezTo>
                  <a:pt x="346" y="939"/>
                  <a:pt x="346" y="939"/>
                  <a:pt x="346" y="939"/>
                </a:cubicBezTo>
                <a:cubicBezTo>
                  <a:pt x="340" y="940"/>
                  <a:pt x="333" y="939"/>
                  <a:pt x="329" y="939"/>
                </a:cubicBezTo>
                <a:cubicBezTo>
                  <a:pt x="327" y="939"/>
                  <a:pt x="327" y="939"/>
                  <a:pt x="327" y="939"/>
                </a:cubicBezTo>
                <a:cubicBezTo>
                  <a:pt x="325" y="938"/>
                  <a:pt x="315" y="940"/>
                  <a:pt x="318" y="939"/>
                </a:cubicBezTo>
                <a:cubicBezTo>
                  <a:pt x="296" y="939"/>
                  <a:pt x="271" y="939"/>
                  <a:pt x="247" y="939"/>
                </a:cubicBezTo>
                <a:cubicBezTo>
                  <a:pt x="243" y="940"/>
                  <a:pt x="228" y="939"/>
                  <a:pt x="233" y="940"/>
                </a:cubicBezTo>
                <a:cubicBezTo>
                  <a:pt x="227" y="939"/>
                  <a:pt x="209" y="939"/>
                  <a:pt x="202" y="939"/>
                </a:cubicBezTo>
                <a:cubicBezTo>
                  <a:pt x="202" y="939"/>
                  <a:pt x="203" y="939"/>
                  <a:pt x="204" y="939"/>
                </a:cubicBezTo>
                <a:cubicBezTo>
                  <a:pt x="191" y="938"/>
                  <a:pt x="188" y="940"/>
                  <a:pt x="176" y="938"/>
                </a:cubicBezTo>
                <a:cubicBezTo>
                  <a:pt x="174" y="939"/>
                  <a:pt x="153" y="938"/>
                  <a:pt x="146" y="939"/>
                </a:cubicBezTo>
                <a:cubicBezTo>
                  <a:pt x="145" y="939"/>
                  <a:pt x="144" y="939"/>
                  <a:pt x="145" y="939"/>
                </a:cubicBezTo>
                <a:cubicBezTo>
                  <a:pt x="123" y="939"/>
                  <a:pt x="98" y="938"/>
                  <a:pt x="80" y="938"/>
                </a:cubicBezTo>
                <a:cubicBezTo>
                  <a:pt x="64" y="939"/>
                  <a:pt x="41" y="938"/>
                  <a:pt x="27" y="939"/>
                </a:cubicBezTo>
                <a:cubicBezTo>
                  <a:pt x="21" y="939"/>
                  <a:pt x="12" y="939"/>
                  <a:pt x="2" y="939"/>
                </a:cubicBezTo>
                <a:cubicBezTo>
                  <a:pt x="3" y="939"/>
                  <a:pt x="4" y="940"/>
                  <a:pt x="5" y="941"/>
                </a:cubicBezTo>
                <a:cubicBezTo>
                  <a:pt x="5" y="934"/>
                  <a:pt x="5" y="927"/>
                  <a:pt x="4" y="920"/>
                </a:cubicBezTo>
                <a:cubicBezTo>
                  <a:pt x="5" y="922"/>
                  <a:pt x="5" y="922"/>
                  <a:pt x="5" y="922"/>
                </a:cubicBezTo>
                <a:cubicBezTo>
                  <a:pt x="5" y="904"/>
                  <a:pt x="4" y="881"/>
                  <a:pt x="4" y="869"/>
                </a:cubicBezTo>
                <a:cubicBezTo>
                  <a:pt x="5" y="864"/>
                  <a:pt x="5" y="856"/>
                  <a:pt x="5" y="848"/>
                </a:cubicBezTo>
                <a:cubicBezTo>
                  <a:pt x="4" y="836"/>
                  <a:pt x="5" y="812"/>
                  <a:pt x="4" y="793"/>
                </a:cubicBezTo>
                <a:cubicBezTo>
                  <a:pt x="5" y="791"/>
                  <a:pt x="4" y="778"/>
                  <a:pt x="5" y="777"/>
                </a:cubicBezTo>
                <a:cubicBezTo>
                  <a:pt x="3" y="726"/>
                  <a:pt x="4" y="663"/>
                  <a:pt x="5" y="608"/>
                </a:cubicBezTo>
                <a:cubicBezTo>
                  <a:pt x="5" y="609"/>
                  <a:pt x="5" y="609"/>
                  <a:pt x="5" y="609"/>
                </a:cubicBezTo>
                <a:cubicBezTo>
                  <a:pt x="4" y="602"/>
                  <a:pt x="4" y="593"/>
                  <a:pt x="3" y="586"/>
                </a:cubicBezTo>
                <a:cubicBezTo>
                  <a:pt x="3" y="585"/>
                  <a:pt x="3" y="585"/>
                  <a:pt x="3" y="587"/>
                </a:cubicBezTo>
                <a:cubicBezTo>
                  <a:pt x="3" y="577"/>
                  <a:pt x="4" y="568"/>
                  <a:pt x="4" y="558"/>
                </a:cubicBezTo>
                <a:cubicBezTo>
                  <a:pt x="4" y="558"/>
                  <a:pt x="4" y="558"/>
                  <a:pt x="4" y="559"/>
                </a:cubicBezTo>
                <a:cubicBezTo>
                  <a:pt x="4" y="550"/>
                  <a:pt x="5" y="540"/>
                  <a:pt x="4" y="529"/>
                </a:cubicBezTo>
                <a:cubicBezTo>
                  <a:pt x="4" y="528"/>
                  <a:pt x="4" y="528"/>
                  <a:pt x="4" y="528"/>
                </a:cubicBezTo>
                <a:cubicBezTo>
                  <a:pt x="4" y="521"/>
                  <a:pt x="4" y="521"/>
                  <a:pt x="4" y="521"/>
                </a:cubicBezTo>
                <a:cubicBezTo>
                  <a:pt x="4" y="521"/>
                  <a:pt x="4" y="522"/>
                  <a:pt x="4" y="525"/>
                </a:cubicBezTo>
                <a:cubicBezTo>
                  <a:pt x="5" y="439"/>
                  <a:pt x="3" y="351"/>
                  <a:pt x="3" y="263"/>
                </a:cubicBezTo>
                <a:cubicBezTo>
                  <a:pt x="4" y="266"/>
                  <a:pt x="4" y="266"/>
                  <a:pt x="4" y="266"/>
                </a:cubicBezTo>
                <a:cubicBezTo>
                  <a:pt x="3" y="249"/>
                  <a:pt x="3" y="249"/>
                  <a:pt x="3" y="249"/>
                </a:cubicBezTo>
                <a:cubicBezTo>
                  <a:pt x="3" y="249"/>
                  <a:pt x="3" y="250"/>
                  <a:pt x="4" y="250"/>
                </a:cubicBezTo>
                <a:cubicBezTo>
                  <a:pt x="4" y="229"/>
                  <a:pt x="3" y="206"/>
                  <a:pt x="3" y="185"/>
                </a:cubicBezTo>
                <a:cubicBezTo>
                  <a:pt x="4" y="185"/>
                  <a:pt x="4" y="188"/>
                  <a:pt x="4" y="185"/>
                </a:cubicBezTo>
                <a:cubicBezTo>
                  <a:pt x="3" y="169"/>
                  <a:pt x="5" y="160"/>
                  <a:pt x="3" y="152"/>
                </a:cubicBezTo>
                <a:cubicBezTo>
                  <a:pt x="3" y="151"/>
                  <a:pt x="4" y="151"/>
                  <a:pt x="4" y="152"/>
                </a:cubicBezTo>
                <a:cubicBezTo>
                  <a:pt x="3" y="109"/>
                  <a:pt x="3" y="64"/>
                  <a:pt x="4" y="20"/>
                </a:cubicBezTo>
                <a:cubicBezTo>
                  <a:pt x="3" y="14"/>
                  <a:pt x="3" y="8"/>
                  <a:pt x="3" y="2"/>
                </a:cubicBezTo>
                <a:cubicBezTo>
                  <a:pt x="3" y="2"/>
                  <a:pt x="3" y="3"/>
                  <a:pt x="2" y="3"/>
                </a:cubicBezTo>
                <a:cubicBezTo>
                  <a:pt x="34" y="2"/>
                  <a:pt x="68" y="3"/>
                  <a:pt x="100" y="2"/>
                </a:cubicBezTo>
                <a:cubicBezTo>
                  <a:pt x="100" y="3"/>
                  <a:pt x="100" y="3"/>
                  <a:pt x="100" y="3"/>
                </a:cubicBezTo>
                <a:cubicBezTo>
                  <a:pt x="149" y="2"/>
                  <a:pt x="202" y="3"/>
                  <a:pt x="253" y="2"/>
                </a:cubicBezTo>
                <a:cubicBezTo>
                  <a:pt x="274" y="3"/>
                  <a:pt x="288" y="2"/>
                  <a:pt x="310" y="2"/>
                </a:cubicBezTo>
                <a:cubicBezTo>
                  <a:pt x="310" y="3"/>
                  <a:pt x="310" y="3"/>
                  <a:pt x="310" y="3"/>
                </a:cubicBezTo>
                <a:cubicBezTo>
                  <a:pt x="330" y="2"/>
                  <a:pt x="351" y="2"/>
                  <a:pt x="372" y="3"/>
                </a:cubicBezTo>
                <a:cubicBezTo>
                  <a:pt x="372" y="2"/>
                  <a:pt x="372" y="2"/>
                  <a:pt x="372" y="2"/>
                </a:cubicBezTo>
                <a:cubicBezTo>
                  <a:pt x="371" y="19"/>
                  <a:pt x="371" y="36"/>
                  <a:pt x="372" y="53"/>
                </a:cubicBezTo>
                <a:cubicBezTo>
                  <a:pt x="371" y="51"/>
                  <a:pt x="371" y="51"/>
                  <a:pt x="371" y="51"/>
                </a:cubicBezTo>
                <a:cubicBezTo>
                  <a:pt x="372" y="56"/>
                  <a:pt x="371" y="73"/>
                  <a:pt x="372" y="71"/>
                </a:cubicBezTo>
                <a:cubicBezTo>
                  <a:pt x="372" y="78"/>
                  <a:pt x="372" y="78"/>
                  <a:pt x="372" y="78"/>
                </a:cubicBezTo>
                <a:cubicBezTo>
                  <a:pt x="374" y="103"/>
                  <a:pt x="371" y="124"/>
                  <a:pt x="372" y="155"/>
                </a:cubicBezTo>
                <a:cubicBezTo>
                  <a:pt x="372" y="153"/>
                  <a:pt x="372" y="153"/>
                  <a:pt x="372" y="153"/>
                </a:cubicBezTo>
                <a:cubicBezTo>
                  <a:pt x="372" y="161"/>
                  <a:pt x="372" y="171"/>
                  <a:pt x="372" y="177"/>
                </a:cubicBezTo>
                <a:cubicBezTo>
                  <a:pt x="372" y="176"/>
                  <a:pt x="372" y="177"/>
                  <a:pt x="372" y="175"/>
                </a:cubicBezTo>
                <a:cubicBezTo>
                  <a:pt x="371" y="201"/>
                  <a:pt x="372" y="230"/>
                  <a:pt x="372" y="257"/>
                </a:cubicBezTo>
                <a:cubicBezTo>
                  <a:pt x="371" y="254"/>
                  <a:pt x="371" y="254"/>
                  <a:pt x="371" y="254"/>
                </a:cubicBezTo>
                <a:cubicBezTo>
                  <a:pt x="372" y="267"/>
                  <a:pt x="372" y="292"/>
                  <a:pt x="372" y="309"/>
                </a:cubicBezTo>
                <a:cubicBezTo>
                  <a:pt x="372" y="308"/>
                  <a:pt x="372" y="308"/>
                  <a:pt x="372" y="308"/>
                </a:cubicBezTo>
                <a:cubicBezTo>
                  <a:pt x="372" y="317"/>
                  <a:pt x="372" y="317"/>
                  <a:pt x="372" y="317"/>
                </a:cubicBezTo>
                <a:cubicBezTo>
                  <a:pt x="371" y="317"/>
                  <a:pt x="371" y="317"/>
                  <a:pt x="371" y="317"/>
                </a:cubicBezTo>
                <a:cubicBezTo>
                  <a:pt x="371" y="340"/>
                  <a:pt x="372" y="361"/>
                  <a:pt x="372" y="383"/>
                </a:cubicBezTo>
                <a:close/>
              </a:path>
            </a:pathLst>
          </a:custGeom>
          <a:noFill/>
          <a:ln w="9525">
            <a:solidFill>
              <a:schemeClr val="bg2">
                <a:lumMod val="85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220">
            <a:extLst>
              <a:ext uri="{FF2B5EF4-FFF2-40B4-BE49-F238E27FC236}">
                <a16:creationId xmlns:a16="http://schemas.microsoft.com/office/drawing/2014/main" id="{806B4D43-8AB9-418A-840F-06CD216B20BF}"/>
              </a:ext>
            </a:extLst>
          </p:cNvPr>
          <p:cNvSpPr>
            <a:spLocks/>
          </p:cNvSpPr>
          <p:nvPr/>
        </p:nvSpPr>
        <p:spPr bwMode="auto">
          <a:xfrm>
            <a:off x="3131321" y="5042306"/>
            <a:ext cx="970792" cy="303747"/>
          </a:xfrm>
          <a:custGeom>
            <a:avLst/>
            <a:gdLst>
              <a:gd name="T0" fmla="*/ 77 w 162"/>
              <a:gd name="T1" fmla="*/ 36 h 51"/>
              <a:gd name="T2" fmla="*/ 61 w 162"/>
              <a:gd name="T3" fmla="*/ 36 h 51"/>
              <a:gd name="T4" fmla="*/ 50 w 162"/>
              <a:gd name="T5" fmla="*/ 35 h 51"/>
              <a:gd name="T6" fmla="*/ 41 w 162"/>
              <a:gd name="T7" fmla="*/ 35 h 51"/>
              <a:gd name="T8" fmla="*/ 14 w 162"/>
              <a:gd name="T9" fmla="*/ 29 h 51"/>
              <a:gd name="T10" fmla="*/ 14 w 162"/>
              <a:gd name="T11" fmla="*/ 29 h 51"/>
              <a:gd name="T12" fmla="*/ 6 w 162"/>
              <a:gd name="T13" fmla="*/ 19 h 51"/>
              <a:gd name="T14" fmla="*/ 11 w 162"/>
              <a:gd name="T15" fmla="*/ 19 h 51"/>
              <a:gd name="T16" fmla="*/ 15 w 162"/>
              <a:gd name="T17" fmla="*/ 21 h 51"/>
              <a:gd name="T18" fmla="*/ 26 w 162"/>
              <a:gd name="T19" fmla="*/ 23 h 51"/>
              <a:gd name="T20" fmla="*/ 41 w 162"/>
              <a:gd name="T21" fmla="*/ 25 h 51"/>
              <a:gd name="T22" fmla="*/ 43 w 162"/>
              <a:gd name="T23" fmla="*/ 26 h 51"/>
              <a:gd name="T24" fmla="*/ 62 w 162"/>
              <a:gd name="T25" fmla="*/ 27 h 51"/>
              <a:gd name="T26" fmla="*/ 63 w 162"/>
              <a:gd name="T27" fmla="*/ 27 h 51"/>
              <a:gd name="T28" fmla="*/ 81 w 162"/>
              <a:gd name="T29" fmla="*/ 27 h 51"/>
              <a:gd name="T30" fmla="*/ 81 w 162"/>
              <a:gd name="T31" fmla="*/ 27 h 51"/>
              <a:gd name="T32" fmla="*/ 105 w 162"/>
              <a:gd name="T33" fmla="*/ 23 h 51"/>
              <a:gd name="T34" fmla="*/ 106 w 162"/>
              <a:gd name="T35" fmla="*/ 23 h 51"/>
              <a:gd name="T36" fmla="*/ 126 w 162"/>
              <a:gd name="T37" fmla="*/ 18 h 51"/>
              <a:gd name="T38" fmla="*/ 108 w 162"/>
              <a:gd name="T39" fmla="*/ 10 h 51"/>
              <a:gd name="T40" fmla="*/ 107 w 162"/>
              <a:gd name="T41" fmla="*/ 8 h 51"/>
              <a:gd name="T42" fmla="*/ 107 w 162"/>
              <a:gd name="T43" fmla="*/ 7 h 51"/>
              <a:gd name="T44" fmla="*/ 113 w 162"/>
              <a:gd name="T45" fmla="*/ 0 h 51"/>
              <a:gd name="T46" fmla="*/ 126 w 162"/>
              <a:gd name="T47" fmla="*/ 4 h 51"/>
              <a:gd name="T48" fmla="*/ 126 w 162"/>
              <a:gd name="T49" fmla="*/ 4 h 51"/>
              <a:gd name="T50" fmla="*/ 137 w 162"/>
              <a:gd name="T51" fmla="*/ 6 h 51"/>
              <a:gd name="T52" fmla="*/ 138 w 162"/>
              <a:gd name="T53" fmla="*/ 6 h 51"/>
              <a:gd name="T54" fmla="*/ 138 w 162"/>
              <a:gd name="T55" fmla="*/ 7 h 51"/>
              <a:gd name="T56" fmla="*/ 156 w 162"/>
              <a:gd name="T57" fmla="*/ 4 h 51"/>
              <a:gd name="T58" fmla="*/ 157 w 162"/>
              <a:gd name="T59" fmla="*/ 4 h 51"/>
              <a:gd name="T60" fmla="*/ 160 w 162"/>
              <a:gd name="T61" fmla="*/ 17 h 51"/>
              <a:gd name="T62" fmla="*/ 160 w 162"/>
              <a:gd name="T63" fmla="*/ 18 h 51"/>
              <a:gd name="T64" fmla="*/ 150 w 162"/>
              <a:gd name="T65" fmla="*/ 24 h 51"/>
              <a:gd name="T66" fmla="*/ 149 w 162"/>
              <a:gd name="T67" fmla="*/ 24 h 51"/>
              <a:gd name="T68" fmla="*/ 127 w 162"/>
              <a:gd name="T69" fmla="*/ 51 h 51"/>
              <a:gd name="T70" fmla="*/ 123 w 162"/>
              <a:gd name="T71" fmla="*/ 46 h 51"/>
              <a:gd name="T72" fmla="*/ 123 w 162"/>
              <a:gd name="T73" fmla="*/ 45 h 51"/>
              <a:gd name="T74" fmla="*/ 124 w 162"/>
              <a:gd name="T75" fmla="*/ 45 h 51"/>
              <a:gd name="T76" fmla="*/ 133 w 162"/>
              <a:gd name="T77" fmla="*/ 26 h 51"/>
              <a:gd name="T78" fmla="*/ 126 w 162"/>
              <a:gd name="T79" fmla="*/ 28 h 51"/>
              <a:gd name="T80" fmla="*/ 126 w 162"/>
              <a:gd name="T81" fmla="*/ 28 h 51"/>
              <a:gd name="T82" fmla="*/ 77 w 162"/>
              <a:gd name="T83" fmla="*/ 36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2" h="51">
                <a:moveTo>
                  <a:pt x="77" y="36"/>
                </a:moveTo>
                <a:cubicBezTo>
                  <a:pt x="73" y="38"/>
                  <a:pt x="68" y="35"/>
                  <a:pt x="61" y="36"/>
                </a:cubicBezTo>
                <a:cubicBezTo>
                  <a:pt x="58" y="34"/>
                  <a:pt x="52" y="35"/>
                  <a:pt x="50" y="35"/>
                </a:cubicBezTo>
                <a:cubicBezTo>
                  <a:pt x="46" y="34"/>
                  <a:pt x="44" y="37"/>
                  <a:pt x="41" y="35"/>
                </a:cubicBezTo>
                <a:cubicBezTo>
                  <a:pt x="33" y="33"/>
                  <a:pt x="21" y="30"/>
                  <a:pt x="14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1" y="27"/>
                  <a:pt x="0" y="25"/>
                  <a:pt x="6" y="19"/>
                </a:cubicBezTo>
                <a:cubicBezTo>
                  <a:pt x="8" y="19"/>
                  <a:pt x="9" y="19"/>
                  <a:pt x="11" y="19"/>
                </a:cubicBezTo>
                <a:cubicBezTo>
                  <a:pt x="12" y="21"/>
                  <a:pt x="14" y="21"/>
                  <a:pt x="15" y="21"/>
                </a:cubicBezTo>
                <a:cubicBezTo>
                  <a:pt x="17" y="23"/>
                  <a:pt x="24" y="24"/>
                  <a:pt x="26" y="23"/>
                </a:cubicBezTo>
                <a:cubicBezTo>
                  <a:pt x="32" y="23"/>
                  <a:pt x="37" y="26"/>
                  <a:pt x="41" y="25"/>
                </a:cubicBezTo>
                <a:cubicBezTo>
                  <a:pt x="41" y="26"/>
                  <a:pt x="42" y="26"/>
                  <a:pt x="43" y="26"/>
                </a:cubicBezTo>
                <a:cubicBezTo>
                  <a:pt x="50" y="27"/>
                  <a:pt x="56" y="28"/>
                  <a:pt x="62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7" y="28"/>
                  <a:pt x="77" y="28"/>
                  <a:pt x="81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7" y="27"/>
                  <a:pt x="99" y="25"/>
                  <a:pt x="105" y="23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13" y="23"/>
                  <a:pt x="120" y="20"/>
                  <a:pt x="126" y="18"/>
                </a:cubicBezTo>
                <a:cubicBezTo>
                  <a:pt x="122" y="13"/>
                  <a:pt x="114" y="13"/>
                  <a:pt x="108" y="10"/>
                </a:cubicBezTo>
                <a:cubicBezTo>
                  <a:pt x="108" y="10"/>
                  <a:pt x="108" y="8"/>
                  <a:pt x="107" y="8"/>
                </a:cubicBezTo>
                <a:cubicBezTo>
                  <a:pt x="107" y="8"/>
                  <a:pt x="107" y="8"/>
                  <a:pt x="107" y="7"/>
                </a:cubicBezTo>
                <a:cubicBezTo>
                  <a:pt x="110" y="6"/>
                  <a:pt x="107" y="0"/>
                  <a:pt x="113" y="0"/>
                </a:cubicBezTo>
                <a:cubicBezTo>
                  <a:pt x="116" y="2"/>
                  <a:pt x="123" y="4"/>
                  <a:pt x="126" y="4"/>
                </a:cubicBezTo>
                <a:cubicBezTo>
                  <a:pt x="126" y="4"/>
                  <a:pt x="126" y="4"/>
                  <a:pt x="126" y="4"/>
                </a:cubicBezTo>
                <a:cubicBezTo>
                  <a:pt x="129" y="5"/>
                  <a:pt x="136" y="6"/>
                  <a:pt x="137" y="6"/>
                </a:cubicBezTo>
                <a:cubicBezTo>
                  <a:pt x="138" y="6"/>
                  <a:pt x="138" y="6"/>
                  <a:pt x="138" y="6"/>
                </a:cubicBezTo>
                <a:cubicBezTo>
                  <a:pt x="138" y="6"/>
                  <a:pt x="138" y="6"/>
                  <a:pt x="138" y="7"/>
                </a:cubicBezTo>
                <a:cubicBezTo>
                  <a:pt x="146" y="5"/>
                  <a:pt x="150" y="7"/>
                  <a:pt x="156" y="4"/>
                </a:cubicBezTo>
                <a:cubicBezTo>
                  <a:pt x="156" y="4"/>
                  <a:pt x="156" y="4"/>
                  <a:pt x="157" y="4"/>
                </a:cubicBezTo>
                <a:cubicBezTo>
                  <a:pt x="162" y="5"/>
                  <a:pt x="159" y="14"/>
                  <a:pt x="160" y="17"/>
                </a:cubicBezTo>
                <a:cubicBezTo>
                  <a:pt x="160" y="17"/>
                  <a:pt x="160" y="17"/>
                  <a:pt x="160" y="18"/>
                </a:cubicBezTo>
                <a:cubicBezTo>
                  <a:pt x="157" y="20"/>
                  <a:pt x="152" y="20"/>
                  <a:pt x="150" y="24"/>
                </a:cubicBezTo>
                <a:cubicBezTo>
                  <a:pt x="150" y="24"/>
                  <a:pt x="150" y="24"/>
                  <a:pt x="149" y="24"/>
                </a:cubicBezTo>
                <a:cubicBezTo>
                  <a:pt x="141" y="28"/>
                  <a:pt x="137" y="44"/>
                  <a:pt x="127" y="51"/>
                </a:cubicBezTo>
                <a:cubicBezTo>
                  <a:pt x="125" y="50"/>
                  <a:pt x="124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5"/>
                  <a:pt x="124" y="45"/>
                </a:cubicBezTo>
                <a:cubicBezTo>
                  <a:pt x="127" y="39"/>
                  <a:pt x="133" y="32"/>
                  <a:pt x="133" y="26"/>
                </a:cubicBezTo>
                <a:cubicBezTo>
                  <a:pt x="131" y="26"/>
                  <a:pt x="128" y="26"/>
                  <a:pt x="126" y="28"/>
                </a:cubicBezTo>
                <a:cubicBezTo>
                  <a:pt x="126" y="28"/>
                  <a:pt x="126" y="28"/>
                  <a:pt x="126" y="28"/>
                </a:cubicBezTo>
                <a:cubicBezTo>
                  <a:pt x="113" y="31"/>
                  <a:pt x="92" y="35"/>
                  <a:pt x="77" y="36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Freeform 220">
            <a:extLst>
              <a:ext uri="{FF2B5EF4-FFF2-40B4-BE49-F238E27FC236}">
                <a16:creationId xmlns:a16="http://schemas.microsoft.com/office/drawing/2014/main" id="{8E687119-D76A-4DC1-9A03-0AF7E44A5240}"/>
              </a:ext>
            </a:extLst>
          </p:cNvPr>
          <p:cNvSpPr>
            <a:spLocks/>
          </p:cNvSpPr>
          <p:nvPr/>
        </p:nvSpPr>
        <p:spPr bwMode="auto">
          <a:xfrm flipV="1">
            <a:off x="7777664" y="3982621"/>
            <a:ext cx="970792" cy="297127"/>
          </a:xfrm>
          <a:custGeom>
            <a:avLst/>
            <a:gdLst>
              <a:gd name="T0" fmla="*/ 77 w 162"/>
              <a:gd name="T1" fmla="*/ 36 h 51"/>
              <a:gd name="T2" fmla="*/ 61 w 162"/>
              <a:gd name="T3" fmla="*/ 36 h 51"/>
              <a:gd name="T4" fmla="*/ 50 w 162"/>
              <a:gd name="T5" fmla="*/ 35 h 51"/>
              <a:gd name="T6" fmla="*/ 41 w 162"/>
              <a:gd name="T7" fmla="*/ 35 h 51"/>
              <a:gd name="T8" fmla="*/ 14 w 162"/>
              <a:gd name="T9" fmla="*/ 29 h 51"/>
              <a:gd name="T10" fmla="*/ 14 w 162"/>
              <a:gd name="T11" fmla="*/ 29 h 51"/>
              <a:gd name="T12" fmla="*/ 6 w 162"/>
              <a:gd name="T13" fmla="*/ 19 h 51"/>
              <a:gd name="T14" fmla="*/ 11 w 162"/>
              <a:gd name="T15" fmla="*/ 19 h 51"/>
              <a:gd name="T16" fmla="*/ 15 w 162"/>
              <a:gd name="T17" fmla="*/ 21 h 51"/>
              <a:gd name="T18" fmla="*/ 26 w 162"/>
              <a:gd name="T19" fmla="*/ 23 h 51"/>
              <a:gd name="T20" fmla="*/ 41 w 162"/>
              <a:gd name="T21" fmla="*/ 25 h 51"/>
              <a:gd name="T22" fmla="*/ 43 w 162"/>
              <a:gd name="T23" fmla="*/ 26 h 51"/>
              <a:gd name="T24" fmla="*/ 62 w 162"/>
              <a:gd name="T25" fmla="*/ 27 h 51"/>
              <a:gd name="T26" fmla="*/ 63 w 162"/>
              <a:gd name="T27" fmla="*/ 27 h 51"/>
              <a:gd name="T28" fmla="*/ 81 w 162"/>
              <a:gd name="T29" fmla="*/ 27 h 51"/>
              <a:gd name="T30" fmla="*/ 81 w 162"/>
              <a:gd name="T31" fmla="*/ 27 h 51"/>
              <a:gd name="T32" fmla="*/ 105 w 162"/>
              <a:gd name="T33" fmla="*/ 23 h 51"/>
              <a:gd name="T34" fmla="*/ 106 w 162"/>
              <a:gd name="T35" fmla="*/ 23 h 51"/>
              <a:gd name="T36" fmla="*/ 126 w 162"/>
              <a:gd name="T37" fmla="*/ 18 h 51"/>
              <a:gd name="T38" fmla="*/ 108 w 162"/>
              <a:gd name="T39" fmla="*/ 10 h 51"/>
              <a:gd name="T40" fmla="*/ 107 w 162"/>
              <a:gd name="T41" fmla="*/ 8 h 51"/>
              <a:gd name="T42" fmla="*/ 107 w 162"/>
              <a:gd name="T43" fmla="*/ 7 h 51"/>
              <a:gd name="T44" fmla="*/ 113 w 162"/>
              <a:gd name="T45" fmla="*/ 0 h 51"/>
              <a:gd name="T46" fmla="*/ 126 w 162"/>
              <a:gd name="T47" fmla="*/ 4 h 51"/>
              <a:gd name="T48" fmla="*/ 126 w 162"/>
              <a:gd name="T49" fmla="*/ 4 h 51"/>
              <a:gd name="T50" fmla="*/ 137 w 162"/>
              <a:gd name="T51" fmla="*/ 6 h 51"/>
              <a:gd name="T52" fmla="*/ 138 w 162"/>
              <a:gd name="T53" fmla="*/ 6 h 51"/>
              <a:gd name="T54" fmla="*/ 138 w 162"/>
              <a:gd name="T55" fmla="*/ 7 h 51"/>
              <a:gd name="T56" fmla="*/ 156 w 162"/>
              <a:gd name="T57" fmla="*/ 4 h 51"/>
              <a:gd name="T58" fmla="*/ 157 w 162"/>
              <a:gd name="T59" fmla="*/ 4 h 51"/>
              <a:gd name="T60" fmla="*/ 160 w 162"/>
              <a:gd name="T61" fmla="*/ 17 h 51"/>
              <a:gd name="T62" fmla="*/ 160 w 162"/>
              <a:gd name="T63" fmla="*/ 18 h 51"/>
              <a:gd name="T64" fmla="*/ 150 w 162"/>
              <a:gd name="T65" fmla="*/ 24 h 51"/>
              <a:gd name="T66" fmla="*/ 149 w 162"/>
              <a:gd name="T67" fmla="*/ 24 h 51"/>
              <a:gd name="T68" fmla="*/ 127 w 162"/>
              <a:gd name="T69" fmla="*/ 51 h 51"/>
              <a:gd name="T70" fmla="*/ 123 w 162"/>
              <a:gd name="T71" fmla="*/ 46 h 51"/>
              <a:gd name="T72" fmla="*/ 123 w 162"/>
              <a:gd name="T73" fmla="*/ 45 h 51"/>
              <a:gd name="T74" fmla="*/ 124 w 162"/>
              <a:gd name="T75" fmla="*/ 45 h 51"/>
              <a:gd name="T76" fmla="*/ 133 w 162"/>
              <a:gd name="T77" fmla="*/ 26 h 51"/>
              <a:gd name="T78" fmla="*/ 126 w 162"/>
              <a:gd name="T79" fmla="*/ 28 h 51"/>
              <a:gd name="T80" fmla="*/ 126 w 162"/>
              <a:gd name="T81" fmla="*/ 28 h 51"/>
              <a:gd name="T82" fmla="*/ 77 w 162"/>
              <a:gd name="T83" fmla="*/ 36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2" h="51">
                <a:moveTo>
                  <a:pt x="77" y="36"/>
                </a:moveTo>
                <a:cubicBezTo>
                  <a:pt x="73" y="38"/>
                  <a:pt x="68" y="35"/>
                  <a:pt x="61" y="36"/>
                </a:cubicBezTo>
                <a:cubicBezTo>
                  <a:pt x="58" y="34"/>
                  <a:pt x="52" y="35"/>
                  <a:pt x="50" y="35"/>
                </a:cubicBezTo>
                <a:cubicBezTo>
                  <a:pt x="46" y="34"/>
                  <a:pt x="44" y="37"/>
                  <a:pt x="41" y="35"/>
                </a:cubicBezTo>
                <a:cubicBezTo>
                  <a:pt x="33" y="33"/>
                  <a:pt x="21" y="30"/>
                  <a:pt x="14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1" y="27"/>
                  <a:pt x="0" y="25"/>
                  <a:pt x="6" y="19"/>
                </a:cubicBezTo>
                <a:cubicBezTo>
                  <a:pt x="8" y="19"/>
                  <a:pt x="9" y="19"/>
                  <a:pt x="11" y="19"/>
                </a:cubicBezTo>
                <a:cubicBezTo>
                  <a:pt x="12" y="21"/>
                  <a:pt x="14" y="21"/>
                  <a:pt x="15" y="21"/>
                </a:cubicBezTo>
                <a:cubicBezTo>
                  <a:pt x="17" y="23"/>
                  <a:pt x="24" y="24"/>
                  <a:pt x="26" y="23"/>
                </a:cubicBezTo>
                <a:cubicBezTo>
                  <a:pt x="32" y="23"/>
                  <a:pt x="37" y="26"/>
                  <a:pt x="41" y="25"/>
                </a:cubicBezTo>
                <a:cubicBezTo>
                  <a:pt x="41" y="26"/>
                  <a:pt x="42" y="26"/>
                  <a:pt x="43" y="26"/>
                </a:cubicBezTo>
                <a:cubicBezTo>
                  <a:pt x="50" y="27"/>
                  <a:pt x="56" y="28"/>
                  <a:pt x="62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7" y="28"/>
                  <a:pt x="77" y="28"/>
                  <a:pt x="81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7" y="27"/>
                  <a:pt x="99" y="25"/>
                  <a:pt x="105" y="23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13" y="23"/>
                  <a:pt x="120" y="20"/>
                  <a:pt x="126" y="18"/>
                </a:cubicBezTo>
                <a:cubicBezTo>
                  <a:pt x="122" y="13"/>
                  <a:pt x="114" y="13"/>
                  <a:pt x="108" y="10"/>
                </a:cubicBezTo>
                <a:cubicBezTo>
                  <a:pt x="108" y="10"/>
                  <a:pt x="108" y="8"/>
                  <a:pt x="107" y="8"/>
                </a:cubicBezTo>
                <a:cubicBezTo>
                  <a:pt x="107" y="8"/>
                  <a:pt x="107" y="8"/>
                  <a:pt x="107" y="7"/>
                </a:cubicBezTo>
                <a:cubicBezTo>
                  <a:pt x="110" y="6"/>
                  <a:pt x="107" y="0"/>
                  <a:pt x="113" y="0"/>
                </a:cubicBezTo>
                <a:cubicBezTo>
                  <a:pt x="116" y="2"/>
                  <a:pt x="123" y="4"/>
                  <a:pt x="126" y="4"/>
                </a:cubicBezTo>
                <a:cubicBezTo>
                  <a:pt x="126" y="4"/>
                  <a:pt x="126" y="4"/>
                  <a:pt x="126" y="4"/>
                </a:cubicBezTo>
                <a:cubicBezTo>
                  <a:pt x="129" y="5"/>
                  <a:pt x="136" y="6"/>
                  <a:pt x="137" y="6"/>
                </a:cubicBezTo>
                <a:cubicBezTo>
                  <a:pt x="138" y="6"/>
                  <a:pt x="138" y="6"/>
                  <a:pt x="138" y="6"/>
                </a:cubicBezTo>
                <a:cubicBezTo>
                  <a:pt x="138" y="6"/>
                  <a:pt x="138" y="6"/>
                  <a:pt x="138" y="7"/>
                </a:cubicBezTo>
                <a:cubicBezTo>
                  <a:pt x="146" y="5"/>
                  <a:pt x="150" y="7"/>
                  <a:pt x="156" y="4"/>
                </a:cubicBezTo>
                <a:cubicBezTo>
                  <a:pt x="156" y="4"/>
                  <a:pt x="156" y="4"/>
                  <a:pt x="157" y="4"/>
                </a:cubicBezTo>
                <a:cubicBezTo>
                  <a:pt x="162" y="5"/>
                  <a:pt x="159" y="14"/>
                  <a:pt x="160" y="17"/>
                </a:cubicBezTo>
                <a:cubicBezTo>
                  <a:pt x="160" y="17"/>
                  <a:pt x="160" y="17"/>
                  <a:pt x="160" y="18"/>
                </a:cubicBezTo>
                <a:cubicBezTo>
                  <a:pt x="157" y="20"/>
                  <a:pt x="152" y="20"/>
                  <a:pt x="150" y="24"/>
                </a:cubicBezTo>
                <a:cubicBezTo>
                  <a:pt x="150" y="24"/>
                  <a:pt x="150" y="24"/>
                  <a:pt x="149" y="24"/>
                </a:cubicBezTo>
                <a:cubicBezTo>
                  <a:pt x="141" y="28"/>
                  <a:pt x="137" y="44"/>
                  <a:pt x="127" y="51"/>
                </a:cubicBezTo>
                <a:cubicBezTo>
                  <a:pt x="125" y="50"/>
                  <a:pt x="124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5"/>
                  <a:pt x="124" y="45"/>
                </a:cubicBezTo>
                <a:cubicBezTo>
                  <a:pt x="127" y="39"/>
                  <a:pt x="133" y="32"/>
                  <a:pt x="133" y="26"/>
                </a:cubicBezTo>
                <a:cubicBezTo>
                  <a:pt x="131" y="26"/>
                  <a:pt x="128" y="26"/>
                  <a:pt x="126" y="28"/>
                </a:cubicBezTo>
                <a:cubicBezTo>
                  <a:pt x="126" y="28"/>
                  <a:pt x="126" y="28"/>
                  <a:pt x="126" y="28"/>
                </a:cubicBezTo>
                <a:cubicBezTo>
                  <a:pt x="113" y="31"/>
                  <a:pt x="92" y="35"/>
                  <a:pt x="77" y="36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72A233AC-12CF-4696-B099-C575F1DB1A7C}"/>
              </a:ext>
            </a:extLst>
          </p:cNvPr>
          <p:cNvSpPr txBox="1"/>
          <p:nvPr/>
        </p:nvSpPr>
        <p:spPr>
          <a:xfrm>
            <a:off x="310179" y="3857219"/>
            <a:ext cx="5312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/>
              <a:t>1. 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76593E15-FFA6-4D79-87AD-F7AC4D4A45B3}"/>
              </a:ext>
            </a:extLst>
          </p:cNvPr>
          <p:cNvSpPr txBox="1"/>
          <p:nvPr/>
        </p:nvSpPr>
        <p:spPr>
          <a:xfrm>
            <a:off x="4258034" y="2921084"/>
            <a:ext cx="5312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/>
              <a:t>2. 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2B56754-88C0-4973-8D8E-F7A65ED38345}"/>
              </a:ext>
            </a:extLst>
          </p:cNvPr>
          <p:cNvSpPr txBox="1"/>
          <p:nvPr/>
        </p:nvSpPr>
        <p:spPr>
          <a:xfrm>
            <a:off x="9106189" y="3974593"/>
            <a:ext cx="5312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/>
              <a:t>3. 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A0748CA-859E-41FC-A0BE-7300F57138BA}"/>
              </a:ext>
            </a:extLst>
          </p:cNvPr>
          <p:cNvSpPr txBox="1"/>
          <p:nvPr/>
        </p:nvSpPr>
        <p:spPr>
          <a:xfrm>
            <a:off x="7022557" y="1620828"/>
            <a:ext cx="4002494" cy="830997"/>
          </a:xfrm>
          <a:prstGeom prst="wedgeRectCallout">
            <a:avLst>
              <a:gd name="adj1" fmla="val -37119"/>
              <a:gd name="adj2" fmla="val 121524"/>
            </a:avLst>
          </a:prstGeo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200">
                <a:solidFill>
                  <a:schemeClr val="bg1"/>
                </a:solidFill>
              </a:rPr>
              <a:t>Dersom fakturaansvarlig i steg 2 også har rollen salgsordreoppretter, vil vedkommende legge kunde- og ordreinformasjon direkte i Unit4 ERP uten å gå via et fakturagrunnlagsskjema. 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20482D-E5B0-4885-81A2-8C07FCDAFC17}"/>
              </a:ext>
            </a:extLst>
          </p:cNvPr>
          <p:cNvSpPr txBox="1"/>
          <p:nvPr/>
        </p:nvSpPr>
        <p:spPr>
          <a:xfrm>
            <a:off x="8813074" y="6033577"/>
            <a:ext cx="330323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Lenke til </a:t>
            </a:r>
            <a:r>
              <a:rPr lang="nb-NO" sz="1100">
                <a:hlinkClick r:id="rId6"/>
              </a:rPr>
              <a:t>rutinebeskrivelse</a:t>
            </a:r>
            <a:endParaRPr lang="nb-NO" sz="1100"/>
          </a:p>
          <a:p>
            <a:r>
              <a:rPr lang="nb-NO" sz="1100"/>
              <a:t>Lenke til </a:t>
            </a:r>
            <a:r>
              <a:rPr lang="nb-NO" sz="1100">
                <a:hlinkClick r:id="rId7"/>
              </a:rPr>
              <a:t>fakturagrunnlagskjema/kreditnotaskjema</a:t>
            </a:r>
            <a:endParaRPr lang="nb-NO" sz="1100"/>
          </a:p>
          <a:p>
            <a:r>
              <a:rPr lang="nb-NO" sz="1100"/>
              <a:t> 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DD895F63-56F3-4096-9D0E-6E392E9E75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982" y="3141823"/>
            <a:ext cx="1002721" cy="1063492"/>
          </a:xfrm>
          <a:prstGeom prst="rect">
            <a:avLst/>
          </a:prstGeom>
        </p:spPr>
      </p:pic>
      <p:pic>
        <p:nvPicPr>
          <p:cNvPr id="71" name="Picture 70" descr="Icon&#10;&#10;Description automatically generated">
            <a:extLst>
              <a:ext uri="{FF2B5EF4-FFF2-40B4-BE49-F238E27FC236}">
                <a16:creationId xmlns:a16="http://schemas.microsoft.com/office/drawing/2014/main" id="{0DD22B74-81AE-4095-A183-CD758D21CD8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7801" y="3184217"/>
            <a:ext cx="1089566" cy="1155600"/>
          </a:xfrm>
          <a:prstGeom prst="rect">
            <a:avLst/>
          </a:prstGeom>
        </p:spPr>
      </p:pic>
      <p:pic>
        <p:nvPicPr>
          <p:cNvPr id="72" name="Picture 71" descr="Icon&#10;&#10;Description automatically generated">
            <a:extLst>
              <a:ext uri="{FF2B5EF4-FFF2-40B4-BE49-F238E27FC236}">
                <a16:creationId xmlns:a16="http://schemas.microsoft.com/office/drawing/2014/main" id="{406413BA-8B6F-47CF-BD89-188C61F6BE0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804" y="2134816"/>
            <a:ext cx="1089565" cy="115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4680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BF1A55-D745-4454-A212-352D8BBDD4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1030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BF1A55-D745-4454-A212-352D8BBDD4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99A74CF-01A7-4B20-9683-DE8A6968D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956288"/>
          </a:xfrm>
        </p:spPr>
        <p:txBody>
          <a:bodyPr vert="horz"/>
          <a:lstStyle/>
          <a:p>
            <a:r>
              <a:rPr lang="nb-NO" sz="2800"/>
              <a:t>Salgsordreoppretter har ansvar og arbeidsoppgaver i delprosessen «Korrigering av faktura i kunder og salg»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87E1BD9-C4D2-40E8-AB96-A2FE2D1E2D5D}"/>
              </a:ext>
            </a:extLst>
          </p:cNvPr>
          <p:cNvGrpSpPr/>
          <p:nvPr/>
        </p:nvGrpSpPr>
        <p:grpSpPr>
          <a:xfrm>
            <a:off x="5411954" y="2831518"/>
            <a:ext cx="767228" cy="636248"/>
            <a:chOff x="7526338" y="5778500"/>
            <a:chExt cx="406400" cy="371475"/>
          </a:xfrm>
          <a:solidFill>
            <a:srgbClr val="002776"/>
          </a:solidFill>
        </p:grpSpPr>
        <p:sp>
          <p:nvSpPr>
            <p:cNvPr id="39" name="Freeform 413">
              <a:extLst>
                <a:ext uri="{FF2B5EF4-FFF2-40B4-BE49-F238E27FC236}">
                  <a16:creationId xmlns:a16="http://schemas.microsoft.com/office/drawing/2014/main" id="{D29971AD-3E5F-4974-B989-1656D87F9E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26338" y="5778500"/>
              <a:ext cx="406400" cy="371475"/>
            </a:xfrm>
            <a:custGeom>
              <a:avLst/>
              <a:gdLst>
                <a:gd name="T0" fmla="*/ 66 w 69"/>
                <a:gd name="T1" fmla="*/ 6 h 63"/>
                <a:gd name="T2" fmla="*/ 67 w 69"/>
                <a:gd name="T3" fmla="*/ 46 h 63"/>
                <a:gd name="T4" fmla="*/ 64 w 69"/>
                <a:gd name="T5" fmla="*/ 7 h 63"/>
                <a:gd name="T6" fmla="*/ 5 w 69"/>
                <a:gd name="T7" fmla="*/ 6 h 63"/>
                <a:gd name="T8" fmla="*/ 6 w 69"/>
                <a:gd name="T9" fmla="*/ 36 h 63"/>
                <a:gd name="T10" fmla="*/ 20 w 69"/>
                <a:gd name="T11" fmla="*/ 7 h 63"/>
                <a:gd name="T12" fmla="*/ 21 w 69"/>
                <a:gd name="T13" fmla="*/ 15 h 63"/>
                <a:gd name="T14" fmla="*/ 14 w 69"/>
                <a:gd name="T15" fmla="*/ 34 h 63"/>
                <a:gd name="T16" fmla="*/ 12 w 69"/>
                <a:gd name="T17" fmla="*/ 37 h 63"/>
                <a:gd name="T18" fmla="*/ 13 w 69"/>
                <a:gd name="T19" fmla="*/ 30 h 63"/>
                <a:gd name="T20" fmla="*/ 6 w 69"/>
                <a:gd name="T21" fmla="*/ 41 h 63"/>
                <a:gd name="T22" fmla="*/ 54 w 69"/>
                <a:gd name="T23" fmla="*/ 44 h 63"/>
                <a:gd name="T24" fmla="*/ 37 w 69"/>
                <a:gd name="T25" fmla="*/ 46 h 63"/>
                <a:gd name="T26" fmla="*/ 41 w 69"/>
                <a:gd name="T27" fmla="*/ 57 h 63"/>
                <a:gd name="T28" fmla="*/ 48 w 69"/>
                <a:gd name="T29" fmla="*/ 60 h 63"/>
                <a:gd name="T30" fmla="*/ 22 w 69"/>
                <a:gd name="T31" fmla="*/ 62 h 63"/>
                <a:gd name="T32" fmla="*/ 25 w 69"/>
                <a:gd name="T33" fmla="*/ 58 h 63"/>
                <a:gd name="T34" fmla="*/ 33 w 69"/>
                <a:gd name="T35" fmla="*/ 58 h 63"/>
                <a:gd name="T36" fmla="*/ 5 w 69"/>
                <a:gd name="T37" fmla="*/ 48 h 63"/>
                <a:gd name="T38" fmla="*/ 1 w 69"/>
                <a:gd name="T39" fmla="*/ 43 h 63"/>
                <a:gd name="T40" fmla="*/ 2 w 69"/>
                <a:gd name="T41" fmla="*/ 7 h 63"/>
                <a:gd name="T42" fmla="*/ 0 w 69"/>
                <a:gd name="T43" fmla="*/ 4 h 63"/>
                <a:gd name="T44" fmla="*/ 33 w 69"/>
                <a:gd name="T45" fmla="*/ 2 h 63"/>
                <a:gd name="T46" fmla="*/ 66 w 69"/>
                <a:gd name="T47" fmla="*/ 11 h 63"/>
                <a:gd name="T48" fmla="*/ 66 w 69"/>
                <a:gd name="T49" fmla="*/ 11 h 63"/>
                <a:gd name="T50" fmla="*/ 45 w 69"/>
                <a:gd name="T51" fmla="*/ 4 h 63"/>
                <a:gd name="T52" fmla="*/ 64 w 69"/>
                <a:gd name="T53" fmla="*/ 4 h 63"/>
                <a:gd name="T54" fmla="*/ 10 w 69"/>
                <a:gd name="T55" fmla="*/ 44 h 63"/>
                <a:gd name="T56" fmla="*/ 19 w 69"/>
                <a:gd name="T57" fmla="*/ 45 h 63"/>
                <a:gd name="T58" fmla="*/ 18 w 69"/>
                <a:gd name="T59" fmla="*/ 43 h 63"/>
                <a:gd name="T60" fmla="*/ 8 w 69"/>
                <a:gd name="T61" fmla="*/ 34 h 63"/>
                <a:gd name="T62" fmla="*/ 5 w 69"/>
                <a:gd name="T63" fmla="*/ 14 h 63"/>
                <a:gd name="T64" fmla="*/ 5 w 69"/>
                <a:gd name="T65" fmla="*/ 14 h 63"/>
                <a:gd name="T66" fmla="*/ 4 w 69"/>
                <a:gd name="T67" fmla="*/ 17 h 63"/>
                <a:gd name="T68" fmla="*/ 4 w 69"/>
                <a:gd name="T69" fmla="*/ 4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9" h="63">
                  <a:moveTo>
                    <a:pt x="68" y="4"/>
                  </a:moveTo>
                  <a:cubicBezTo>
                    <a:pt x="69" y="6"/>
                    <a:pt x="67" y="4"/>
                    <a:pt x="66" y="6"/>
                  </a:cubicBezTo>
                  <a:cubicBezTo>
                    <a:pt x="68" y="7"/>
                    <a:pt x="68" y="9"/>
                    <a:pt x="68" y="12"/>
                  </a:cubicBezTo>
                  <a:cubicBezTo>
                    <a:pt x="67" y="22"/>
                    <a:pt x="69" y="36"/>
                    <a:pt x="67" y="46"/>
                  </a:cubicBezTo>
                  <a:cubicBezTo>
                    <a:pt x="65" y="45"/>
                    <a:pt x="64" y="41"/>
                    <a:pt x="64" y="38"/>
                  </a:cubicBezTo>
                  <a:cubicBezTo>
                    <a:pt x="63" y="29"/>
                    <a:pt x="63" y="16"/>
                    <a:pt x="64" y="7"/>
                  </a:cubicBezTo>
                  <a:cubicBezTo>
                    <a:pt x="60" y="8"/>
                    <a:pt x="55" y="6"/>
                    <a:pt x="51" y="6"/>
                  </a:cubicBezTo>
                  <a:cubicBezTo>
                    <a:pt x="36" y="4"/>
                    <a:pt x="19" y="6"/>
                    <a:pt x="5" y="6"/>
                  </a:cubicBezTo>
                  <a:cubicBezTo>
                    <a:pt x="5" y="7"/>
                    <a:pt x="7" y="6"/>
                    <a:pt x="7" y="7"/>
                  </a:cubicBezTo>
                  <a:cubicBezTo>
                    <a:pt x="6" y="19"/>
                    <a:pt x="6" y="25"/>
                    <a:pt x="6" y="36"/>
                  </a:cubicBezTo>
                  <a:cubicBezTo>
                    <a:pt x="10" y="29"/>
                    <a:pt x="13" y="21"/>
                    <a:pt x="15" y="13"/>
                  </a:cubicBezTo>
                  <a:cubicBezTo>
                    <a:pt x="17" y="12"/>
                    <a:pt x="17" y="7"/>
                    <a:pt x="20" y="7"/>
                  </a:cubicBezTo>
                  <a:cubicBezTo>
                    <a:pt x="16" y="16"/>
                    <a:pt x="12" y="24"/>
                    <a:pt x="9" y="33"/>
                  </a:cubicBezTo>
                  <a:cubicBezTo>
                    <a:pt x="13" y="28"/>
                    <a:pt x="17" y="21"/>
                    <a:pt x="21" y="15"/>
                  </a:cubicBezTo>
                  <a:cubicBezTo>
                    <a:pt x="22" y="13"/>
                    <a:pt x="23" y="10"/>
                    <a:pt x="25" y="9"/>
                  </a:cubicBezTo>
                  <a:cubicBezTo>
                    <a:pt x="21" y="17"/>
                    <a:pt x="17" y="25"/>
                    <a:pt x="14" y="34"/>
                  </a:cubicBezTo>
                  <a:cubicBezTo>
                    <a:pt x="16" y="33"/>
                    <a:pt x="17" y="29"/>
                    <a:pt x="20" y="27"/>
                  </a:cubicBezTo>
                  <a:cubicBezTo>
                    <a:pt x="17" y="30"/>
                    <a:pt x="16" y="35"/>
                    <a:pt x="12" y="37"/>
                  </a:cubicBezTo>
                  <a:cubicBezTo>
                    <a:pt x="12" y="32"/>
                    <a:pt x="15" y="28"/>
                    <a:pt x="17" y="24"/>
                  </a:cubicBezTo>
                  <a:cubicBezTo>
                    <a:pt x="16" y="25"/>
                    <a:pt x="14" y="27"/>
                    <a:pt x="13" y="30"/>
                  </a:cubicBezTo>
                  <a:cubicBezTo>
                    <a:pt x="10" y="31"/>
                    <a:pt x="9" y="34"/>
                    <a:pt x="8" y="37"/>
                  </a:cubicBezTo>
                  <a:cubicBezTo>
                    <a:pt x="7" y="38"/>
                    <a:pt x="5" y="39"/>
                    <a:pt x="6" y="41"/>
                  </a:cubicBezTo>
                  <a:cubicBezTo>
                    <a:pt x="14" y="42"/>
                    <a:pt x="23" y="42"/>
                    <a:pt x="31" y="42"/>
                  </a:cubicBezTo>
                  <a:cubicBezTo>
                    <a:pt x="39" y="41"/>
                    <a:pt x="46" y="43"/>
                    <a:pt x="54" y="44"/>
                  </a:cubicBezTo>
                  <a:cubicBezTo>
                    <a:pt x="58" y="44"/>
                    <a:pt x="63" y="43"/>
                    <a:pt x="65" y="46"/>
                  </a:cubicBezTo>
                  <a:cubicBezTo>
                    <a:pt x="55" y="48"/>
                    <a:pt x="47" y="46"/>
                    <a:pt x="37" y="46"/>
                  </a:cubicBezTo>
                  <a:cubicBezTo>
                    <a:pt x="35" y="49"/>
                    <a:pt x="36" y="54"/>
                    <a:pt x="37" y="57"/>
                  </a:cubicBezTo>
                  <a:cubicBezTo>
                    <a:pt x="38" y="57"/>
                    <a:pt x="40" y="57"/>
                    <a:pt x="41" y="57"/>
                  </a:cubicBezTo>
                  <a:cubicBezTo>
                    <a:pt x="42" y="58"/>
                    <a:pt x="41" y="58"/>
                    <a:pt x="41" y="60"/>
                  </a:cubicBezTo>
                  <a:cubicBezTo>
                    <a:pt x="43" y="60"/>
                    <a:pt x="45" y="60"/>
                    <a:pt x="48" y="60"/>
                  </a:cubicBezTo>
                  <a:cubicBezTo>
                    <a:pt x="47" y="63"/>
                    <a:pt x="41" y="61"/>
                    <a:pt x="37" y="61"/>
                  </a:cubicBezTo>
                  <a:cubicBezTo>
                    <a:pt x="33" y="62"/>
                    <a:pt x="25" y="62"/>
                    <a:pt x="22" y="62"/>
                  </a:cubicBezTo>
                  <a:cubicBezTo>
                    <a:pt x="25" y="59"/>
                    <a:pt x="31" y="60"/>
                    <a:pt x="35" y="60"/>
                  </a:cubicBezTo>
                  <a:cubicBezTo>
                    <a:pt x="34" y="58"/>
                    <a:pt x="27" y="60"/>
                    <a:pt x="25" y="58"/>
                  </a:cubicBezTo>
                  <a:cubicBezTo>
                    <a:pt x="24" y="56"/>
                    <a:pt x="29" y="58"/>
                    <a:pt x="29" y="56"/>
                  </a:cubicBezTo>
                  <a:cubicBezTo>
                    <a:pt x="29" y="57"/>
                    <a:pt x="31" y="58"/>
                    <a:pt x="33" y="58"/>
                  </a:cubicBezTo>
                  <a:cubicBezTo>
                    <a:pt x="33" y="54"/>
                    <a:pt x="32" y="49"/>
                    <a:pt x="33" y="46"/>
                  </a:cubicBezTo>
                  <a:cubicBezTo>
                    <a:pt x="24" y="46"/>
                    <a:pt x="15" y="47"/>
                    <a:pt x="5" y="48"/>
                  </a:cubicBezTo>
                  <a:cubicBezTo>
                    <a:pt x="4" y="48"/>
                    <a:pt x="4" y="49"/>
                    <a:pt x="3" y="49"/>
                  </a:cubicBezTo>
                  <a:cubicBezTo>
                    <a:pt x="2" y="48"/>
                    <a:pt x="2" y="44"/>
                    <a:pt x="1" y="43"/>
                  </a:cubicBezTo>
                  <a:cubicBezTo>
                    <a:pt x="1" y="42"/>
                    <a:pt x="2" y="42"/>
                    <a:pt x="2" y="40"/>
                  </a:cubicBezTo>
                  <a:cubicBezTo>
                    <a:pt x="2" y="28"/>
                    <a:pt x="2" y="17"/>
                    <a:pt x="2" y="7"/>
                  </a:cubicBezTo>
                  <a:cubicBezTo>
                    <a:pt x="3" y="6"/>
                    <a:pt x="4" y="7"/>
                    <a:pt x="4" y="6"/>
                  </a:cubicBezTo>
                  <a:cubicBezTo>
                    <a:pt x="4" y="5"/>
                    <a:pt x="0" y="6"/>
                    <a:pt x="0" y="4"/>
                  </a:cubicBezTo>
                  <a:cubicBezTo>
                    <a:pt x="2" y="3"/>
                    <a:pt x="6" y="4"/>
                    <a:pt x="7" y="3"/>
                  </a:cubicBezTo>
                  <a:cubicBezTo>
                    <a:pt x="13" y="3"/>
                    <a:pt x="25" y="2"/>
                    <a:pt x="33" y="2"/>
                  </a:cubicBezTo>
                  <a:cubicBezTo>
                    <a:pt x="44" y="2"/>
                    <a:pt x="59" y="0"/>
                    <a:pt x="68" y="4"/>
                  </a:cubicBezTo>
                  <a:close/>
                  <a:moveTo>
                    <a:pt x="66" y="11"/>
                  </a:moveTo>
                  <a:cubicBezTo>
                    <a:pt x="65" y="14"/>
                    <a:pt x="64" y="19"/>
                    <a:pt x="66" y="21"/>
                  </a:cubicBezTo>
                  <a:cubicBezTo>
                    <a:pt x="66" y="18"/>
                    <a:pt x="66" y="14"/>
                    <a:pt x="66" y="11"/>
                  </a:cubicBezTo>
                  <a:close/>
                  <a:moveTo>
                    <a:pt x="64" y="4"/>
                  </a:moveTo>
                  <a:cubicBezTo>
                    <a:pt x="59" y="3"/>
                    <a:pt x="50" y="3"/>
                    <a:pt x="45" y="4"/>
                  </a:cubicBezTo>
                  <a:cubicBezTo>
                    <a:pt x="51" y="4"/>
                    <a:pt x="58" y="7"/>
                    <a:pt x="64" y="5"/>
                  </a:cubicBezTo>
                  <a:cubicBezTo>
                    <a:pt x="64" y="5"/>
                    <a:pt x="64" y="5"/>
                    <a:pt x="64" y="4"/>
                  </a:cubicBezTo>
                  <a:close/>
                  <a:moveTo>
                    <a:pt x="18" y="43"/>
                  </a:moveTo>
                  <a:cubicBezTo>
                    <a:pt x="15" y="43"/>
                    <a:pt x="12" y="43"/>
                    <a:pt x="10" y="44"/>
                  </a:cubicBezTo>
                  <a:cubicBezTo>
                    <a:pt x="8" y="44"/>
                    <a:pt x="5" y="44"/>
                    <a:pt x="4" y="45"/>
                  </a:cubicBezTo>
                  <a:cubicBezTo>
                    <a:pt x="8" y="48"/>
                    <a:pt x="14" y="45"/>
                    <a:pt x="19" y="45"/>
                  </a:cubicBezTo>
                  <a:cubicBezTo>
                    <a:pt x="28" y="44"/>
                    <a:pt x="37" y="44"/>
                    <a:pt x="44" y="44"/>
                  </a:cubicBezTo>
                  <a:cubicBezTo>
                    <a:pt x="36" y="43"/>
                    <a:pt x="27" y="43"/>
                    <a:pt x="18" y="43"/>
                  </a:cubicBezTo>
                  <a:close/>
                  <a:moveTo>
                    <a:pt x="8" y="35"/>
                  </a:moveTo>
                  <a:cubicBezTo>
                    <a:pt x="8" y="35"/>
                    <a:pt x="9" y="34"/>
                    <a:pt x="8" y="34"/>
                  </a:cubicBezTo>
                  <a:cubicBezTo>
                    <a:pt x="8" y="34"/>
                    <a:pt x="8" y="34"/>
                    <a:pt x="8" y="35"/>
                  </a:cubicBezTo>
                  <a:close/>
                  <a:moveTo>
                    <a:pt x="5" y="14"/>
                  </a:move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lose/>
                  <a:moveTo>
                    <a:pt x="4" y="16"/>
                  </a:moveTo>
                  <a:cubicBezTo>
                    <a:pt x="4" y="16"/>
                    <a:pt x="4" y="16"/>
                    <a:pt x="4" y="17"/>
                  </a:cubicBezTo>
                  <a:cubicBezTo>
                    <a:pt x="3" y="21"/>
                    <a:pt x="4" y="25"/>
                    <a:pt x="4" y="29"/>
                  </a:cubicBezTo>
                  <a:cubicBezTo>
                    <a:pt x="4" y="34"/>
                    <a:pt x="3" y="38"/>
                    <a:pt x="4" y="41"/>
                  </a:cubicBezTo>
                  <a:cubicBezTo>
                    <a:pt x="4" y="33"/>
                    <a:pt x="5" y="24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414">
              <a:extLst>
                <a:ext uri="{FF2B5EF4-FFF2-40B4-BE49-F238E27FC236}">
                  <a16:creationId xmlns:a16="http://schemas.microsoft.com/office/drawing/2014/main" id="{FE75815B-6A50-4DD3-93FF-ABCF073B0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873750"/>
              <a:ext cx="58738" cy="111125"/>
            </a:xfrm>
            <a:custGeom>
              <a:avLst/>
              <a:gdLst>
                <a:gd name="T0" fmla="*/ 7 w 10"/>
                <a:gd name="T1" fmla="*/ 2 h 19"/>
                <a:gd name="T2" fmla="*/ 10 w 10"/>
                <a:gd name="T3" fmla="*/ 0 h 19"/>
                <a:gd name="T4" fmla="*/ 4 w 10"/>
                <a:gd name="T5" fmla="*/ 13 h 19"/>
                <a:gd name="T6" fmla="*/ 8 w 10"/>
                <a:gd name="T7" fmla="*/ 9 h 19"/>
                <a:gd name="T8" fmla="*/ 7 w 10"/>
                <a:gd name="T9" fmla="*/ 17 h 19"/>
                <a:gd name="T10" fmla="*/ 5 w 10"/>
                <a:gd name="T11" fmla="*/ 15 h 19"/>
                <a:gd name="T12" fmla="*/ 2 w 10"/>
                <a:gd name="T13" fmla="*/ 19 h 19"/>
                <a:gd name="T14" fmla="*/ 2 w 10"/>
                <a:gd name="T15" fmla="*/ 13 h 19"/>
                <a:gd name="T16" fmla="*/ 9 w 10"/>
                <a:gd name="T17" fmla="*/ 2 h 19"/>
                <a:gd name="T18" fmla="*/ 7 w 10"/>
                <a:gd name="T1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9">
                  <a:moveTo>
                    <a:pt x="7" y="2"/>
                  </a:moveTo>
                  <a:cubicBezTo>
                    <a:pt x="8" y="1"/>
                    <a:pt x="9" y="0"/>
                    <a:pt x="10" y="0"/>
                  </a:cubicBezTo>
                  <a:cubicBezTo>
                    <a:pt x="10" y="5"/>
                    <a:pt x="5" y="8"/>
                    <a:pt x="4" y="13"/>
                  </a:cubicBezTo>
                  <a:cubicBezTo>
                    <a:pt x="5" y="13"/>
                    <a:pt x="6" y="10"/>
                    <a:pt x="8" y="9"/>
                  </a:cubicBezTo>
                  <a:cubicBezTo>
                    <a:pt x="10" y="11"/>
                    <a:pt x="4" y="14"/>
                    <a:pt x="7" y="17"/>
                  </a:cubicBezTo>
                  <a:cubicBezTo>
                    <a:pt x="5" y="18"/>
                    <a:pt x="4" y="17"/>
                    <a:pt x="5" y="15"/>
                  </a:cubicBezTo>
                  <a:cubicBezTo>
                    <a:pt x="3" y="16"/>
                    <a:pt x="3" y="18"/>
                    <a:pt x="2" y="19"/>
                  </a:cubicBezTo>
                  <a:cubicBezTo>
                    <a:pt x="0" y="17"/>
                    <a:pt x="2" y="14"/>
                    <a:pt x="2" y="13"/>
                  </a:cubicBezTo>
                  <a:cubicBezTo>
                    <a:pt x="4" y="9"/>
                    <a:pt x="8" y="5"/>
                    <a:pt x="9" y="2"/>
                  </a:cubicBezTo>
                  <a:cubicBezTo>
                    <a:pt x="9" y="1"/>
                    <a:pt x="8" y="3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15">
              <a:extLst>
                <a:ext uri="{FF2B5EF4-FFF2-40B4-BE49-F238E27FC236}">
                  <a16:creationId xmlns:a16="http://schemas.microsoft.com/office/drawing/2014/main" id="{5AA0BDA5-4C15-4731-AF48-FFE5E1467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1450" y="5832475"/>
              <a:ext cx="76200" cy="134938"/>
            </a:xfrm>
            <a:custGeom>
              <a:avLst/>
              <a:gdLst>
                <a:gd name="T0" fmla="*/ 4 w 13"/>
                <a:gd name="T1" fmla="*/ 19 h 23"/>
                <a:gd name="T2" fmla="*/ 2 w 13"/>
                <a:gd name="T3" fmla="*/ 23 h 23"/>
                <a:gd name="T4" fmla="*/ 1 w 13"/>
                <a:gd name="T5" fmla="*/ 19 h 23"/>
                <a:gd name="T6" fmla="*/ 10 w 13"/>
                <a:gd name="T7" fmla="*/ 4 h 23"/>
                <a:gd name="T8" fmla="*/ 12 w 13"/>
                <a:gd name="T9" fmla="*/ 2 h 23"/>
                <a:gd name="T10" fmla="*/ 8 w 13"/>
                <a:gd name="T11" fmla="*/ 5 h 23"/>
                <a:gd name="T12" fmla="*/ 13 w 13"/>
                <a:gd name="T13" fmla="*/ 0 h 23"/>
                <a:gd name="T14" fmla="*/ 10 w 13"/>
                <a:gd name="T15" fmla="*/ 6 h 23"/>
                <a:gd name="T16" fmla="*/ 6 w 13"/>
                <a:gd name="T17" fmla="*/ 12 h 23"/>
                <a:gd name="T18" fmla="*/ 4 w 13"/>
                <a:gd name="T19" fmla="*/ 15 h 23"/>
                <a:gd name="T20" fmla="*/ 3 w 13"/>
                <a:gd name="T21" fmla="*/ 20 h 23"/>
                <a:gd name="T22" fmla="*/ 4 w 13"/>
                <a:gd name="T23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23">
                  <a:moveTo>
                    <a:pt x="4" y="19"/>
                  </a:moveTo>
                  <a:cubicBezTo>
                    <a:pt x="3" y="21"/>
                    <a:pt x="3" y="22"/>
                    <a:pt x="2" y="23"/>
                  </a:cubicBezTo>
                  <a:cubicBezTo>
                    <a:pt x="0" y="23"/>
                    <a:pt x="1" y="20"/>
                    <a:pt x="1" y="19"/>
                  </a:cubicBezTo>
                  <a:cubicBezTo>
                    <a:pt x="3" y="14"/>
                    <a:pt x="8" y="9"/>
                    <a:pt x="10" y="4"/>
                  </a:cubicBezTo>
                  <a:cubicBezTo>
                    <a:pt x="11" y="3"/>
                    <a:pt x="12" y="3"/>
                    <a:pt x="12" y="2"/>
                  </a:cubicBezTo>
                  <a:cubicBezTo>
                    <a:pt x="10" y="2"/>
                    <a:pt x="9" y="4"/>
                    <a:pt x="8" y="5"/>
                  </a:cubicBezTo>
                  <a:cubicBezTo>
                    <a:pt x="9" y="3"/>
                    <a:pt x="11" y="1"/>
                    <a:pt x="13" y="0"/>
                  </a:cubicBezTo>
                  <a:cubicBezTo>
                    <a:pt x="13" y="2"/>
                    <a:pt x="11" y="4"/>
                    <a:pt x="10" y="6"/>
                  </a:cubicBezTo>
                  <a:cubicBezTo>
                    <a:pt x="8" y="8"/>
                    <a:pt x="7" y="10"/>
                    <a:pt x="6" y="12"/>
                  </a:cubicBezTo>
                  <a:cubicBezTo>
                    <a:pt x="6" y="14"/>
                    <a:pt x="5" y="14"/>
                    <a:pt x="4" y="15"/>
                  </a:cubicBezTo>
                  <a:cubicBezTo>
                    <a:pt x="4" y="17"/>
                    <a:pt x="3" y="18"/>
                    <a:pt x="3" y="20"/>
                  </a:cubicBezTo>
                  <a:cubicBezTo>
                    <a:pt x="3" y="21"/>
                    <a:pt x="3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6">
              <a:extLst>
                <a:ext uri="{FF2B5EF4-FFF2-40B4-BE49-F238E27FC236}">
                  <a16:creationId xmlns:a16="http://schemas.microsoft.com/office/drawing/2014/main" id="{0415C083-58C2-42DD-A027-D6A4BA1E9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6538" y="5884863"/>
              <a:ext cx="0" cy="6350"/>
            </a:xfrm>
            <a:custGeom>
              <a:avLst/>
              <a:gdLst>
                <a:gd name="T0" fmla="*/ 0 h 1"/>
                <a:gd name="T1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17">
              <a:extLst>
                <a:ext uri="{FF2B5EF4-FFF2-40B4-BE49-F238E27FC236}">
                  <a16:creationId xmlns:a16="http://schemas.microsoft.com/office/drawing/2014/main" id="{22FE558B-3EA0-4EDB-8909-552EFD74C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861050"/>
              <a:ext cx="17463" cy="23813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3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2"/>
                    <a:pt x="1" y="3"/>
                    <a:pt x="0" y="4"/>
                  </a:cubicBezTo>
                  <a:cubicBezTo>
                    <a:pt x="0" y="2"/>
                    <a:pt x="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18">
              <a:extLst>
                <a:ext uri="{FF2B5EF4-FFF2-40B4-BE49-F238E27FC236}">
                  <a16:creationId xmlns:a16="http://schemas.microsoft.com/office/drawing/2014/main" id="{984D0B31-F13A-44F2-A33A-78904BF90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5826125"/>
              <a:ext cx="93663" cy="165100"/>
            </a:xfrm>
            <a:custGeom>
              <a:avLst/>
              <a:gdLst>
                <a:gd name="T0" fmla="*/ 12 w 16"/>
                <a:gd name="T1" fmla="*/ 13 h 28"/>
                <a:gd name="T2" fmla="*/ 1 w 16"/>
                <a:gd name="T3" fmla="*/ 28 h 28"/>
                <a:gd name="T4" fmla="*/ 6 w 16"/>
                <a:gd name="T5" fmla="*/ 15 h 28"/>
                <a:gd name="T6" fmla="*/ 0 w 16"/>
                <a:gd name="T7" fmla="*/ 22 h 28"/>
                <a:gd name="T8" fmla="*/ 16 w 16"/>
                <a:gd name="T9" fmla="*/ 0 h 28"/>
                <a:gd name="T10" fmla="*/ 2 w 16"/>
                <a:gd name="T11" fmla="*/ 25 h 28"/>
                <a:gd name="T12" fmla="*/ 12 w 16"/>
                <a:gd name="T13" fmla="*/ 13 h 28"/>
                <a:gd name="T14" fmla="*/ 12 w 16"/>
                <a:gd name="T15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8">
                  <a:moveTo>
                    <a:pt x="12" y="13"/>
                  </a:moveTo>
                  <a:cubicBezTo>
                    <a:pt x="8" y="17"/>
                    <a:pt x="5" y="25"/>
                    <a:pt x="1" y="28"/>
                  </a:cubicBezTo>
                  <a:cubicBezTo>
                    <a:pt x="1" y="23"/>
                    <a:pt x="4" y="19"/>
                    <a:pt x="6" y="15"/>
                  </a:cubicBezTo>
                  <a:cubicBezTo>
                    <a:pt x="3" y="17"/>
                    <a:pt x="2" y="21"/>
                    <a:pt x="0" y="22"/>
                  </a:cubicBezTo>
                  <a:cubicBezTo>
                    <a:pt x="5" y="15"/>
                    <a:pt x="10" y="7"/>
                    <a:pt x="16" y="0"/>
                  </a:cubicBezTo>
                  <a:cubicBezTo>
                    <a:pt x="11" y="8"/>
                    <a:pt x="6" y="16"/>
                    <a:pt x="2" y="25"/>
                  </a:cubicBezTo>
                  <a:cubicBezTo>
                    <a:pt x="5" y="22"/>
                    <a:pt x="9" y="16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19">
              <a:extLst>
                <a:ext uri="{FF2B5EF4-FFF2-40B4-BE49-F238E27FC236}">
                  <a16:creationId xmlns:a16="http://schemas.microsoft.com/office/drawing/2014/main" id="{96D27188-DA32-40B6-8298-19B2CA3CB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4763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20">
              <a:extLst>
                <a:ext uri="{FF2B5EF4-FFF2-40B4-BE49-F238E27FC236}">
                  <a16:creationId xmlns:a16="http://schemas.microsoft.com/office/drawing/2014/main" id="{63426A33-332A-4DEA-A628-DE012E904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21">
              <a:extLst>
                <a:ext uri="{FF2B5EF4-FFF2-40B4-BE49-F238E27FC236}">
                  <a16:creationId xmlns:a16="http://schemas.microsoft.com/office/drawing/2014/main" id="{124181ED-3A4C-479B-BCE9-DE2BB2DBF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0" cy="476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22">
              <a:extLst>
                <a:ext uri="{FF2B5EF4-FFF2-40B4-BE49-F238E27FC236}">
                  <a16:creationId xmlns:a16="http://schemas.microsoft.com/office/drawing/2014/main" id="{9C1C698A-6B3D-4BA3-ACF6-404950FE1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937250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23">
              <a:extLst>
                <a:ext uri="{FF2B5EF4-FFF2-40B4-BE49-F238E27FC236}">
                  <a16:creationId xmlns:a16="http://schemas.microsoft.com/office/drawing/2014/main" id="{9D2E33DF-8A43-4410-A567-D12132B6C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5884863"/>
              <a:ext cx="12700" cy="6350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24">
              <a:extLst>
                <a:ext uri="{FF2B5EF4-FFF2-40B4-BE49-F238E27FC236}">
                  <a16:creationId xmlns:a16="http://schemas.microsoft.com/office/drawing/2014/main" id="{0298376A-E248-47FB-ABF4-3A993575E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937250"/>
              <a:ext cx="0" cy="6350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25">
              <a:extLst>
                <a:ext uri="{FF2B5EF4-FFF2-40B4-BE49-F238E27FC236}">
                  <a16:creationId xmlns:a16="http://schemas.microsoft.com/office/drawing/2014/main" id="{FA63BC9E-57CD-417E-B9BA-3B90A4511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5891213"/>
              <a:ext cx="0" cy="6350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26">
              <a:extLst>
                <a:ext uri="{FF2B5EF4-FFF2-40B4-BE49-F238E27FC236}">
                  <a16:creationId xmlns:a16="http://schemas.microsoft.com/office/drawing/2014/main" id="{993F58F7-3B8B-4F3B-AF9F-703282C80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63" y="5897563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27">
              <a:extLst>
                <a:ext uri="{FF2B5EF4-FFF2-40B4-BE49-F238E27FC236}">
                  <a16:creationId xmlns:a16="http://schemas.microsoft.com/office/drawing/2014/main" id="{E1368875-4E33-4906-A0F2-B17F51550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63" y="5897563"/>
              <a:ext cx="0" cy="476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28">
              <a:extLst>
                <a:ext uri="{FF2B5EF4-FFF2-40B4-BE49-F238E27FC236}">
                  <a16:creationId xmlns:a16="http://schemas.microsoft.com/office/drawing/2014/main" id="{000904CF-8FFF-4CF6-8E60-9EEFEEE98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837238"/>
              <a:ext cx="93663" cy="165100"/>
            </a:xfrm>
            <a:custGeom>
              <a:avLst/>
              <a:gdLst>
                <a:gd name="T0" fmla="*/ 7 w 16"/>
                <a:gd name="T1" fmla="*/ 20 h 28"/>
                <a:gd name="T2" fmla="*/ 0 w 16"/>
                <a:gd name="T3" fmla="*/ 28 h 28"/>
                <a:gd name="T4" fmla="*/ 6 w 16"/>
                <a:gd name="T5" fmla="*/ 14 h 28"/>
                <a:gd name="T6" fmla="*/ 6 w 16"/>
                <a:gd name="T7" fmla="*/ 14 h 28"/>
                <a:gd name="T8" fmla="*/ 6 w 16"/>
                <a:gd name="T9" fmla="*/ 14 h 28"/>
                <a:gd name="T10" fmla="*/ 5 w 16"/>
                <a:gd name="T11" fmla="*/ 14 h 28"/>
                <a:gd name="T12" fmla="*/ 10 w 16"/>
                <a:gd name="T13" fmla="*/ 6 h 28"/>
                <a:gd name="T14" fmla="*/ 16 w 16"/>
                <a:gd name="T15" fmla="*/ 0 h 28"/>
                <a:gd name="T16" fmla="*/ 2 w 16"/>
                <a:gd name="T17" fmla="*/ 26 h 28"/>
                <a:gd name="T18" fmla="*/ 6 w 16"/>
                <a:gd name="T19" fmla="*/ 20 h 28"/>
                <a:gd name="T20" fmla="*/ 7 w 16"/>
                <a:gd name="T21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8">
                  <a:moveTo>
                    <a:pt x="7" y="20"/>
                  </a:moveTo>
                  <a:cubicBezTo>
                    <a:pt x="5" y="23"/>
                    <a:pt x="3" y="27"/>
                    <a:pt x="0" y="28"/>
                  </a:cubicBezTo>
                  <a:cubicBezTo>
                    <a:pt x="0" y="23"/>
                    <a:pt x="4" y="19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4"/>
                    <a:pt x="6" y="14"/>
                  </a:cubicBezTo>
                  <a:cubicBezTo>
                    <a:pt x="6" y="14"/>
                    <a:pt x="5" y="14"/>
                    <a:pt x="5" y="14"/>
                  </a:cubicBezTo>
                  <a:cubicBezTo>
                    <a:pt x="7" y="11"/>
                    <a:pt x="8" y="9"/>
                    <a:pt x="10" y="6"/>
                  </a:cubicBezTo>
                  <a:cubicBezTo>
                    <a:pt x="12" y="4"/>
                    <a:pt x="13" y="1"/>
                    <a:pt x="16" y="0"/>
                  </a:cubicBezTo>
                  <a:cubicBezTo>
                    <a:pt x="11" y="8"/>
                    <a:pt x="5" y="15"/>
                    <a:pt x="2" y="26"/>
                  </a:cubicBezTo>
                  <a:cubicBezTo>
                    <a:pt x="4" y="24"/>
                    <a:pt x="5" y="22"/>
                    <a:pt x="6" y="20"/>
                  </a:cubicBezTo>
                  <a:cubicBezTo>
                    <a:pt x="6" y="20"/>
                    <a:pt x="7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29">
              <a:extLst>
                <a:ext uri="{FF2B5EF4-FFF2-40B4-BE49-F238E27FC236}">
                  <a16:creationId xmlns:a16="http://schemas.microsoft.com/office/drawing/2014/main" id="{6A48B454-FEE4-4744-BDB1-2A1A3D1714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2863" y="5861050"/>
              <a:ext cx="69850" cy="136525"/>
            </a:xfrm>
            <a:custGeom>
              <a:avLst/>
              <a:gdLst>
                <a:gd name="T0" fmla="*/ 3 w 12"/>
                <a:gd name="T1" fmla="*/ 20 h 23"/>
                <a:gd name="T2" fmla="*/ 0 w 12"/>
                <a:gd name="T3" fmla="*/ 22 h 23"/>
                <a:gd name="T4" fmla="*/ 7 w 12"/>
                <a:gd name="T5" fmla="*/ 7 h 23"/>
                <a:gd name="T6" fmla="*/ 5 w 12"/>
                <a:gd name="T7" fmla="*/ 9 h 23"/>
                <a:gd name="T8" fmla="*/ 12 w 12"/>
                <a:gd name="T9" fmla="*/ 0 h 23"/>
                <a:gd name="T10" fmla="*/ 1 w 12"/>
                <a:gd name="T11" fmla="*/ 20 h 23"/>
                <a:gd name="T12" fmla="*/ 3 w 12"/>
                <a:gd name="T13" fmla="*/ 20 h 23"/>
                <a:gd name="T14" fmla="*/ 8 w 12"/>
                <a:gd name="T15" fmla="*/ 5 h 23"/>
                <a:gd name="T16" fmla="*/ 8 w 12"/>
                <a:gd name="T17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3">
                  <a:moveTo>
                    <a:pt x="3" y="20"/>
                  </a:moveTo>
                  <a:cubicBezTo>
                    <a:pt x="3" y="21"/>
                    <a:pt x="2" y="23"/>
                    <a:pt x="0" y="22"/>
                  </a:cubicBezTo>
                  <a:cubicBezTo>
                    <a:pt x="0" y="16"/>
                    <a:pt x="5" y="12"/>
                    <a:pt x="7" y="7"/>
                  </a:cubicBezTo>
                  <a:cubicBezTo>
                    <a:pt x="6" y="7"/>
                    <a:pt x="6" y="8"/>
                    <a:pt x="5" y="9"/>
                  </a:cubicBezTo>
                  <a:cubicBezTo>
                    <a:pt x="6" y="6"/>
                    <a:pt x="9" y="2"/>
                    <a:pt x="12" y="0"/>
                  </a:cubicBezTo>
                  <a:cubicBezTo>
                    <a:pt x="9" y="7"/>
                    <a:pt x="4" y="12"/>
                    <a:pt x="1" y="20"/>
                  </a:cubicBezTo>
                  <a:cubicBezTo>
                    <a:pt x="2" y="21"/>
                    <a:pt x="3" y="20"/>
                    <a:pt x="3" y="20"/>
                  </a:cubicBezTo>
                  <a:close/>
                  <a:moveTo>
                    <a:pt x="8" y="5"/>
                  </a:moveTo>
                  <a:cubicBezTo>
                    <a:pt x="7" y="6"/>
                    <a:pt x="8" y="5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30">
              <a:extLst>
                <a:ext uri="{FF2B5EF4-FFF2-40B4-BE49-F238E27FC236}">
                  <a16:creationId xmlns:a16="http://schemas.microsoft.com/office/drawing/2014/main" id="{25AE0B3D-5264-4F44-9CB9-524BF8E0E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250" y="5919788"/>
              <a:ext cx="6350" cy="6350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31">
              <a:extLst>
                <a:ext uri="{FF2B5EF4-FFF2-40B4-BE49-F238E27FC236}">
                  <a16:creationId xmlns:a16="http://schemas.microsoft.com/office/drawing/2014/main" id="{623E6253-8CEA-459C-BB8C-EC22BE2FF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250" y="59261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432">
              <a:extLst>
                <a:ext uri="{FF2B5EF4-FFF2-40B4-BE49-F238E27FC236}">
                  <a16:creationId xmlns:a16="http://schemas.microsoft.com/office/drawing/2014/main" id="{338F6459-F7C7-42D4-A2E0-BFA8862ED6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5250" y="5926138"/>
              <a:ext cx="1588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33">
              <a:extLst>
                <a:ext uri="{FF2B5EF4-FFF2-40B4-BE49-F238E27FC236}">
                  <a16:creationId xmlns:a16="http://schemas.microsoft.com/office/drawing/2014/main" id="{751C103C-FC72-4E3F-BD9F-649EF1BB5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2550" y="5943600"/>
              <a:ext cx="6350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34">
              <a:extLst>
                <a:ext uri="{FF2B5EF4-FFF2-40B4-BE49-F238E27FC236}">
                  <a16:creationId xmlns:a16="http://schemas.microsoft.com/office/drawing/2014/main" id="{97BE13A9-AB3F-4902-9048-3815248988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9050" y="5849938"/>
              <a:ext cx="63500" cy="123825"/>
            </a:xfrm>
            <a:custGeom>
              <a:avLst/>
              <a:gdLst>
                <a:gd name="T0" fmla="*/ 6 w 11"/>
                <a:gd name="T1" fmla="*/ 15 h 21"/>
                <a:gd name="T2" fmla="*/ 0 w 11"/>
                <a:gd name="T3" fmla="*/ 21 h 21"/>
                <a:gd name="T4" fmla="*/ 5 w 11"/>
                <a:gd name="T5" fmla="*/ 9 h 21"/>
                <a:gd name="T6" fmla="*/ 2 w 11"/>
                <a:gd name="T7" fmla="*/ 13 h 21"/>
                <a:gd name="T8" fmla="*/ 11 w 11"/>
                <a:gd name="T9" fmla="*/ 0 h 21"/>
                <a:gd name="T10" fmla="*/ 1 w 11"/>
                <a:gd name="T11" fmla="*/ 19 h 21"/>
                <a:gd name="T12" fmla="*/ 5 w 11"/>
                <a:gd name="T13" fmla="*/ 15 h 21"/>
                <a:gd name="T14" fmla="*/ 6 w 11"/>
                <a:gd name="T15" fmla="*/ 15 h 21"/>
                <a:gd name="T16" fmla="*/ 5 w 11"/>
                <a:gd name="T17" fmla="*/ 9 h 21"/>
                <a:gd name="T18" fmla="*/ 5 w 11"/>
                <a:gd name="T19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21">
                  <a:moveTo>
                    <a:pt x="6" y="15"/>
                  </a:moveTo>
                  <a:cubicBezTo>
                    <a:pt x="4" y="17"/>
                    <a:pt x="3" y="21"/>
                    <a:pt x="0" y="21"/>
                  </a:cubicBezTo>
                  <a:cubicBezTo>
                    <a:pt x="0" y="17"/>
                    <a:pt x="4" y="13"/>
                    <a:pt x="5" y="9"/>
                  </a:cubicBezTo>
                  <a:cubicBezTo>
                    <a:pt x="3" y="10"/>
                    <a:pt x="3" y="12"/>
                    <a:pt x="2" y="13"/>
                  </a:cubicBezTo>
                  <a:cubicBezTo>
                    <a:pt x="5" y="8"/>
                    <a:pt x="7" y="3"/>
                    <a:pt x="11" y="0"/>
                  </a:cubicBezTo>
                  <a:cubicBezTo>
                    <a:pt x="9" y="7"/>
                    <a:pt x="4" y="12"/>
                    <a:pt x="1" y="19"/>
                  </a:cubicBezTo>
                  <a:cubicBezTo>
                    <a:pt x="3" y="18"/>
                    <a:pt x="4" y="16"/>
                    <a:pt x="5" y="15"/>
                  </a:cubicBezTo>
                  <a:cubicBezTo>
                    <a:pt x="6" y="15"/>
                    <a:pt x="6" y="15"/>
                    <a:pt x="6" y="15"/>
                  </a:cubicBezTo>
                  <a:close/>
                  <a:moveTo>
                    <a:pt x="5" y="9"/>
                  </a:moveTo>
                  <a:cubicBezTo>
                    <a:pt x="5" y="9"/>
                    <a:pt x="5" y="8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35">
              <a:extLst>
                <a:ext uri="{FF2B5EF4-FFF2-40B4-BE49-F238E27FC236}">
                  <a16:creationId xmlns:a16="http://schemas.microsoft.com/office/drawing/2014/main" id="{A834C27B-B9E2-4C3A-8820-295E243FE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956300"/>
              <a:ext cx="6350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36">
              <a:extLst>
                <a:ext uri="{FF2B5EF4-FFF2-40B4-BE49-F238E27FC236}">
                  <a16:creationId xmlns:a16="http://schemas.microsoft.com/office/drawing/2014/main" id="{A7B73BDA-5A05-44EF-BBB0-8DA16791D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9610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37">
              <a:extLst>
                <a:ext uri="{FF2B5EF4-FFF2-40B4-BE49-F238E27FC236}">
                  <a16:creationId xmlns:a16="http://schemas.microsoft.com/office/drawing/2014/main" id="{5F3C1327-8230-4E3A-94A2-0BCB7AFCE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5961063"/>
              <a:ext cx="11113" cy="17463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2 w 2"/>
                <a:gd name="T5" fmla="*/ 0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1"/>
                    <a:pt x="1" y="2"/>
                    <a:pt x="0" y="3"/>
                  </a:cubicBezTo>
                  <a:cubicBezTo>
                    <a:pt x="0" y="1"/>
                    <a:pt x="1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38">
              <a:extLst>
                <a:ext uri="{FF2B5EF4-FFF2-40B4-BE49-F238E27FC236}">
                  <a16:creationId xmlns:a16="http://schemas.microsoft.com/office/drawing/2014/main" id="{F7654CDB-8204-412C-8454-2A1F9CBFF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5088" y="5915025"/>
              <a:ext cx="6350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39">
              <a:extLst>
                <a:ext uri="{FF2B5EF4-FFF2-40B4-BE49-F238E27FC236}">
                  <a16:creationId xmlns:a16="http://schemas.microsoft.com/office/drawing/2014/main" id="{67BF909A-8541-4171-981D-636B20E66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3975" y="5919788"/>
              <a:ext cx="11113" cy="6350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40">
              <a:extLst>
                <a:ext uri="{FF2B5EF4-FFF2-40B4-BE49-F238E27FC236}">
                  <a16:creationId xmlns:a16="http://schemas.microsoft.com/office/drawing/2014/main" id="{EFB9DC14-3E3F-4E8E-8BA3-B98AD6871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5973763"/>
              <a:ext cx="0" cy="4763"/>
            </a:xfrm>
            <a:custGeom>
              <a:avLst/>
              <a:gdLst>
                <a:gd name="T0" fmla="*/ 1 h 1"/>
                <a:gd name="T1" fmla="*/ 1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441">
              <a:extLst>
                <a:ext uri="{FF2B5EF4-FFF2-40B4-BE49-F238E27FC236}">
                  <a16:creationId xmlns:a16="http://schemas.microsoft.com/office/drawing/2014/main" id="{8BD2F321-D2A1-4B99-977F-B98628D6DD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975" y="5932488"/>
              <a:ext cx="1588" cy="4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42">
              <a:extLst>
                <a:ext uri="{FF2B5EF4-FFF2-40B4-BE49-F238E27FC236}">
                  <a16:creationId xmlns:a16="http://schemas.microsoft.com/office/drawing/2014/main" id="{8DFF5700-2641-41A1-840A-C3A606CE3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3813" y="5926138"/>
              <a:ext cx="6350" cy="6350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43">
              <a:extLst>
                <a:ext uri="{FF2B5EF4-FFF2-40B4-BE49-F238E27FC236}">
                  <a16:creationId xmlns:a16="http://schemas.microsoft.com/office/drawing/2014/main" id="{AE79371F-C0A2-4E5E-8DE2-3938386CA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9050" y="5932488"/>
              <a:ext cx="4763" cy="4763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0" name="Freeform 220">
            <a:extLst>
              <a:ext uri="{FF2B5EF4-FFF2-40B4-BE49-F238E27FC236}">
                <a16:creationId xmlns:a16="http://schemas.microsoft.com/office/drawing/2014/main" id="{806B4D43-8AB9-418A-840F-06CD216B20BF}"/>
              </a:ext>
            </a:extLst>
          </p:cNvPr>
          <p:cNvSpPr>
            <a:spLocks/>
          </p:cNvSpPr>
          <p:nvPr/>
        </p:nvSpPr>
        <p:spPr bwMode="auto">
          <a:xfrm>
            <a:off x="5310172" y="3874375"/>
            <a:ext cx="970792" cy="303747"/>
          </a:xfrm>
          <a:custGeom>
            <a:avLst/>
            <a:gdLst>
              <a:gd name="T0" fmla="*/ 77 w 162"/>
              <a:gd name="T1" fmla="*/ 36 h 51"/>
              <a:gd name="T2" fmla="*/ 61 w 162"/>
              <a:gd name="T3" fmla="*/ 36 h 51"/>
              <a:gd name="T4" fmla="*/ 50 w 162"/>
              <a:gd name="T5" fmla="*/ 35 h 51"/>
              <a:gd name="T6" fmla="*/ 41 w 162"/>
              <a:gd name="T7" fmla="*/ 35 h 51"/>
              <a:gd name="T8" fmla="*/ 14 w 162"/>
              <a:gd name="T9" fmla="*/ 29 h 51"/>
              <a:gd name="T10" fmla="*/ 14 w 162"/>
              <a:gd name="T11" fmla="*/ 29 h 51"/>
              <a:gd name="T12" fmla="*/ 6 w 162"/>
              <a:gd name="T13" fmla="*/ 19 h 51"/>
              <a:gd name="T14" fmla="*/ 11 w 162"/>
              <a:gd name="T15" fmla="*/ 19 h 51"/>
              <a:gd name="T16" fmla="*/ 15 w 162"/>
              <a:gd name="T17" fmla="*/ 21 h 51"/>
              <a:gd name="T18" fmla="*/ 26 w 162"/>
              <a:gd name="T19" fmla="*/ 23 h 51"/>
              <a:gd name="T20" fmla="*/ 41 w 162"/>
              <a:gd name="T21" fmla="*/ 25 h 51"/>
              <a:gd name="T22" fmla="*/ 43 w 162"/>
              <a:gd name="T23" fmla="*/ 26 h 51"/>
              <a:gd name="T24" fmla="*/ 62 w 162"/>
              <a:gd name="T25" fmla="*/ 27 h 51"/>
              <a:gd name="T26" fmla="*/ 63 w 162"/>
              <a:gd name="T27" fmla="*/ 27 h 51"/>
              <a:gd name="T28" fmla="*/ 81 w 162"/>
              <a:gd name="T29" fmla="*/ 27 h 51"/>
              <a:gd name="T30" fmla="*/ 81 w 162"/>
              <a:gd name="T31" fmla="*/ 27 h 51"/>
              <a:gd name="T32" fmla="*/ 105 w 162"/>
              <a:gd name="T33" fmla="*/ 23 h 51"/>
              <a:gd name="T34" fmla="*/ 106 w 162"/>
              <a:gd name="T35" fmla="*/ 23 h 51"/>
              <a:gd name="T36" fmla="*/ 126 w 162"/>
              <a:gd name="T37" fmla="*/ 18 h 51"/>
              <a:gd name="T38" fmla="*/ 108 w 162"/>
              <a:gd name="T39" fmla="*/ 10 h 51"/>
              <a:gd name="T40" fmla="*/ 107 w 162"/>
              <a:gd name="T41" fmla="*/ 8 h 51"/>
              <a:gd name="T42" fmla="*/ 107 w 162"/>
              <a:gd name="T43" fmla="*/ 7 h 51"/>
              <a:gd name="T44" fmla="*/ 113 w 162"/>
              <a:gd name="T45" fmla="*/ 0 h 51"/>
              <a:gd name="T46" fmla="*/ 126 w 162"/>
              <a:gd name="T47" fmla="*/ 4 h 51"/>
              <a:gd name="T48" fmla="*/ 126 w 162"/>
              <a:gd name="T49" fmla="*/ 4 h 51"/>
              <a:gd name="T50" fmla="*/ 137 w 162"/>
              <a:gd name="T51" fmla="*/ 6 h 51"/>
              <a:gd name="T52" fmla="*/ 138 w 162"/>
              <a:gd name="T53" fmla="*/ 6 h 51"/>
              <a:gd name="T54" fmla="*/ 138 w 162"/>
              <a:gd name="T55" fmla="*/ 7 h 51"/>
              <a:gd name="T56" fmla="*/ 156 w 162"/>
              <a:gd name="T57" fmla="*/ 4 h 51"/>
              <a:gd name="T58" fmla="*/ 157 w 162"/>
              <a:gd name="T59" fmla="*/ 4 h 51"/>
              <a:gd name="T60" fmla="*/ 160 w 162"/>
              <a:gd name="T61" fmla="*/ 17 h 51"/>
              <a:gd name="T62" fmla="*/ 160 w 162"/>
              <a:gd name="T63" fmla="*/ 18 h 51"/>
              <a:gd name="T64" fmla="*/ 150 w 162"/>
              <a:gd name="T65" fmla="*/ 24 h 51"/>
              <a:gd name="T66" fmla="*/ 149 w 162"/>
              <a:gd name="T67" fmla="*/ 24 h 51"/>
              <a:gd name="T68" fmla="*/ 127 w 162"/>
              <a:gd name="T69" fmla="*/ 51 h 51"/>
              <a:gd name="T70" fmla="*/ 123 w 162"/>
              <a:gd name="T71" fmla="*/ 46 h 51"/>
              <a:gd name="T72" fmla="*/ 123 w 162"/>
              <a:gd name="T73" fmla="*/ 45 h 51"/>
              <a:gd name="T74" fmla="*/ 124 w 162"/>
              <a:gd name="T75" fmla="*/ 45 h 51"/>
              <a:gd name="T76" fmla="*/ 133 w 162"/>
              <a:gd name="T77" fmla="*/ 26 h 51"/>
              <a:gd name="T78" fmla="*/ 126 w 162"/>
              <a:gd name="T79" fmla="*/ 28 h 51"/>
              <a:gd name="T80" fmla="*/ 126 w 162"/>
              <a:gd name="T81" fmla="*/ 28 h 51"/>
              <a:gd name="T82" fmla="*/ 77 w 162"/>
              <a:gd name="T83" fmla="*/ 36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2" h="51">
                <a:moveTo>
                  <a:pt x="77" y="36"/>
                </a:moveTo>
                <a:cubicBezTo>
                  <a:pt x="73" y="38"/>
                  <a:pt x="68" y="35"/>
                  <a:pt x="61" y="36"/>
                </a:cubicBezTo>
                <a:cubicBezTo>
                  <a:pt x="58" y="34"/>
                  <a:pt x="52" y="35"/>
                  <a:pt x="50" y="35"/>
                </a:cubicBezTo>
                <a:cubicBezTo>
                  <a:pt x="46" y="34"/>
                  <a:pt x="44" y="37"/>
                  <a:pt x="41" y="35"/>
                </a:cubicBezTo>
                <a:cubicBezTo>
                  <a:pt x="33" y="33"/>
                  <a:pt x="21" y="30"/>
                  <a:pt x="14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1" y="27"/>
                  <a:pt x="0" y="25"/>
                  <a:pt x="6" y="19"/>
                </a:cubicBezTo>
                <a:cubicBezTo>
                  <a:pt x="8" y="19"/>
                  <a:pt x="9" y="19"/>
                  <a:pt x="11" y="19"/>
                </a:cubicBezTo>
                <a:cubicBezTo>
                  <a:pt x="12" y="21"/>
                  <a:pt x="14" y="21"/>
                  <a:pt x="15" y="21"/>
                </a:cubicBezTo>
                <a:cubicBezTo>
                  <a:pt x="17" y="23"/>
                  <a:pt x="24" y="24"/>
                  <a:pt x="26" y="23"/>
                </a:cubicBezTo>
                <a:cubicBezTo>
                  <a:pt x="32" y="23"/>
                  <a:pt x="37" y="26"/>
                  <a:pt x="41" y="25"/>
                </a:cubicBezTo>
                <a:cubicBezTo>
                  <a:pt x="41" y="26"/>
                  <a:pt x="42" y="26"/>
                  <a:pt x="43" y="26"/>
                </a:cubicBezTo>
                <a:cubicBezTo>
                  <a:pt x="50" y="27"/>
                  <a:pt x="56" y="28"/>
                  <a:pt x="62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7" y="28"/>
                  <a:pt x="77" y="28"/>
                  <a:pt x="81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7" y="27"/>
                  <a:pt x="99" y="25"/>
                  <a:pt x="105" y="23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13" y="23"/>
                  <a:pt x="120" y="20"/>
                  <a:pt x="126" y="18"/>
                </a:cubicBezTo>
                <a:cubicBezTo>
                  <a:pt x="122" y="13"/>
                  <a:pt x="114" y="13"/>
                  <a:pt x="108" y="10"/>
                </a:cubicBezTo>
                <a:cubicBezTo>
                  <a:pt x="108" y="10"/>
                  <a:pt x="108" y="8"/>
                  <a:pt x="107" y="8"/>
                </a:cubicBezTo>
                <a:cubicBezTo>
                  <a:pt x="107" y="8"/>
                  <a:pt x="107" y="8"/>
                  <a:pt x="107" y="7"/>
                </a:cubicBezTo>
                <a:cubicBezTo>
                  <a:pt x="110" y="6"/>
                  <a:pt x="107" y="0"/>
                  <a:pt x="113" y="0"/>
                </a:cubicBezTo>
                <a:cubicBezTo>
                  <a:pt x="116" y="2"/>
                  <a:pt x="123" y="4"/>
                  <a:pt x="126" y="4"/>
                </a:cubicBezTo>
                <a:cubicBezTo>
                  <a:pt x="126" y="4"/>
                  <a:pt x="126" y="4"/>
                  <a:pt x="126" y="4"/>
                </a:cubicBezTo>
                <a:cubicBezTo>
                  <a:pt x="129" y="5"/>
                  <a:pt x="136" y="6"/>
                  <a:pt x="137" y="6"/>
                </a:cubicBezTo>
                <a:cubicBezTo>
                  <a:pt x="138" y="6"/>
                  <a:pt x="138" y="6"/>
                  <a:pt x="138" y="6"/>
                </a:cubicBezTo>
                <a:cubicBezTo>
                  <a:pt x="138" y="6"/>
                  <a:pt x="138" y="6"/>
                  <a:pt x="138" y="7"/>
                </a:cubicBezTo>
                <a:cubicBezTo>
                  <a:pt x="146" y="5"/>
                  <a:pt x="150" y="7"/>
                  <a:pt x="156" y="4"/>
                </a:cubicBezTo>
                <a:cubicBezTo>
                  <a:pt x="156" y="4"/>
                  <a:pt x="156" y="4"/>
                  <a:pt x="157" y="4"/>
                </a:cubicBezTo>
                <a:cubicBezTo>
                  <a:pt x="162" y="5"/>
                  <a:pt x="159" y="14"/>
                  <a:pt x="160" y="17"/>
                </a:cubicBezTo>
                <a:cubicBezTo>
                  <a:pt x="160" y="17"/>
                  <a:pt x="160" y="17"/>
                  <a:pt x="160" y="18"/>
                </a:cubicBezTo>
                <a:cubicBezTo>
                  <a:pt x="157" y="20"/>
                  <a:pt x="152" y="20"/>
                  <a:pt x="150" y="24"/>
                </a:cubicBezTo>
                <a:cubicBezTo>
                  <a:pt x="150" y="24"/>
                  <a:pt x="150" y="24"/>
                  <a:pt x="149" y="24"/>
                </a:cubicBezTo>
                <a:cubicBezTo>
                  <a:pt x="141" y="28"/>
                  <a:pt x="137" y="44"/>
                  <a:pt x="127" y="51"/>
                </a:cubicBezTo>
                <a:cubicBezTo>
                  <a:pt x="125" y="50"/>
                  <a:pt x="124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5"/>
                  <a:pt x="124" y="45"/>
                </a:cubicBezTo>
                <a:cubicBezTo>
                  <a:pt x="127" y="39"/>
                  <a:pt x="133" y="32"/>
                  <a:pt x="133" y="26"/>
                </a:cubicBezTo>
                <a:cubicBezTo>
                  <a:pt x="131" y="26"/>
                  <a:pt x="128" y="26"/>
                  <a:pt x="126" y="28"/>
                </a:cubicBezTo>
                <a:cubicBezTo>
                  <a:pt x="126" y="28"/>
                  <a:pt x="126" y="28"/>
                  <a:pt x="126" y="28"/>
                </a:cubicBezTo>
                <a:cubicBezTo>
                  <a:pt x="113" y="31"/>
                  <a:pt x="92" y="35"/>
                  <a:pt x="77" y="36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55ED0C4-7709-4BB1-BB38-AFBBE884075A}"/>
              </a:ext>
            </a:extLst>
          </p:cNvPr>
          <p:cNvGrpSpPr/>
          <p:nvPr/>
        </p:nvGrpSpPr>
        <p:grpSpPr>
          <a:xfrm>
            <a:off x="6925845" y="2909170"/>
            <a:ext cx="2714253" cy="1655903"/>
            <a:chOff x="6429446" y="2909170"/>
            <a:chExt cx="2714253" cy="1655903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1F2AEFC-58F3-4ABF-BDCC-D75B324831AF}"/>
                </a:ext>
              </a:extLst>
            </p:cNvPr>
            <p:cNvSpPr txBox="1"/>
            <p:nvPr/>
          </p:nvSpPr>
          <p:spPr>
            <a:xfrm>
              <a:off x="6646813" y="3313072"/>
              <a:ext cx="2496886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100" b="1"/>
                <a:t>Salgsordreoppretter </a:t>
              </a:r>
              <a:r>
                <a:rPr lang="nb-NO" sz="1100"/>
                <a:t>mottar kreditnotaskjema og registrerer kreditnotaen i Unit4 ERP.</a:t>
              </a:r>
              <a:r>
                <a:rPr lang="nb-NO" sz="1100" b="1"/>
                <a:t> </a:t>
              </a:r>
              <a:r>
                <a:rPr lang="nb-NO" sz="1100"/>
                <a:t>Dersom kreditnotaen skal utbetales, melder salgsordreoppretter om dette til økonomiavdelingen sentralt.</a:t>
              </a:r>
            </a:p>
          </p:txBody>
        </p:sp>
        <p:sp>
          <p:nvSpPr>
            <p:cNvPr id="77" name="Freeform 6">
              <a:extLst>
                <a:ext uri="{FF2B5EF4-FFF2-40B4-BE49-F238E27FC236}">
                  <a16:creationId xmlns:a16="http://schemas.microsoft.com/office/drawing/2014/main" id="{6BF963B2-3519-4777-82A3-F20013005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1700" y="3270147"/>
              <a:ext cx="2661998" cy="1294926"/>
            </a:xfrm>
            <a:custGeom>
              <a:avLst/>
              <a:gdLst>
                <a:gd name="T0" fmla="*/ 371 w 379"/>
                <a:gd name="T1" fmla="*/ 382 h 943"/>
                <a:gd name="T2" fmla="*/ 372 w 379"/>
                <a:gd name="T3" fmla="*/ 446 h 943"/>
                <a:gd name="T4" fmla="*/ 372 w 379"/>
                <a:gd name="T5" fmla="*/ 605 h 943"/>
                <a:gd name="T6" fmla="*/ 372 w 379"/>
                <a:gd name="T7" fmla="*/ 612 h 943"/>
                <a:gd name="T8" fmla="*/ 373 w 379"/>
                <a:gd name="T9" fmla="*/ 656 h 943"/>
                <a:gd name="T10" fmla="*/ 373 w 379"/>
                <a:gd name="T11" fmla="*/ 790 h 943"/>
                <a:gd name="T12" fmla="*/ 374 w 379"/>
                <a:gd name="T13" fmla="*/ 905 h 943"/>
                <a:gd name="T14" fmla="*/ 375 w 379"/>
                <a:gd name="T15" fmla="*/ 873 h 943"/>
                <a:gd name="T16" fmla="*/ 375 w 379"/>
                <a:gd name="T17" fmla="*/ 862 h 943"/>
                <a:gd name="T18" fmla="*/ 375 w 379"/>
                <a:gd name="T19" fmla="*/ 786 h 943"/>
                <a:gd name="T20" fmla="*/ 374 w 379"/>
                <a:gd name="T21" fmla="*/ 591 h 943"/>
                <a:gd name="T22" fmla="*/ 374 w 379"/>
                <a:gd name="T23" fmla="*/ 493 h 943"/>
                <a:gd name="T24" fmla="*/ 373 w 379"/>
                <a:gd name="T25" fmla="*/ 441 h 943"/>
                <a:gd name="T26" fmla="*/ 374 w 379"/>
                <a:gd name="T27" fmla="*/ 2 h 943"/>
                <a:gd name="T28" fmla="*/ 372 w 379"/>
                <a:gd name="T29" fmla="*/ 0 h 943"/>
                <a:gd name="T30" fmla="*/ 305 w 379"/>
                <a:gd name="T31" fmla="*/ 1 h 943"/>
                <a:gd name="T32" fmla="*/ 231 w 379"/>
                <a:gd name="T33" fmla="*/ 1 h 943"/>
                <a:gd name="T34" fmla="*/ 2 w 379"/>
                <a:gd name="T35" fmla="*/ 2 h 943"/>
                <a:gd name="T36" fmla="*/ 2 w 379"/>
                <a:gd name="T37" fmla="*/ 2 h 943"/>
                <a:gd name="T38" fmla="*/ 2 w 379"/>
                <a:gd name="T39" fmla="*/ 187 h 943"/>
                <a:gd name="T40" fmla="*/ 2 w 379"/>
                <a:gd name="T41" fmla="*/ 557 h 943"/>
                <a:gd name="T42" fmla="*/ 3 w 379"/>
                <a:gd name="T43" fmla="*/ 905 h 943"/>
                <a:gd name="T44" fmla="*/ 2 w 379"/>
                <a:gd name="T45" fmla="*/ 941 h 943"/>
                <a:gd name="T46" fmla="*/ 272 w 379"/>
                <a:gd name="T47" fmla="*/ 942 h 943"/>
                <a:gd name="T48" fmla="*/ 307 w 379"/>
                <a:gd name="T49" fmla="*/ 941 h 943"/>
                <a:gd name="T50" fmla="*/ 325 w 379"/>
                <a:gd name="T51" fmla="*/ 941 h 943"/>
                <a:gd name="T52" fmla="*/ 334 w 379"/>
                <a:gd name="T53" fmla="*/ 941 h 943"/>
                <a:gd name="T54" fmla="*/ 360 w 379"/>
                <a:gd name="T55" fmla="*/ 942 h 943"/>
                <a:gd name="T56" fmla="*/ 372 w 379"/>
                <a:gd name="T57" fmla="*/ 942 h 943"/>
                <a:gd name="T58" fmla="*/ 369 w 379"/>
                <a:gd name="T59" fmla="*/ 941 h 943"/>
                <a:gd name="T60" fmla="*/ 346 w 379"/>
                <a:gd name="T61" fmla="*/ 939 h 943"/>
                <a:gd name="T62" fmla="*/ 329 w 379"/>
                <a:gd name="T63" fmla="*/ 939 h 943"/>
                <a:gd name="T64" fmla="*/ 318 w 379"/>
                <a:gd name="T65" fmla="*/ 939 h 943"/>
                <a:gd name="T66" fmla="*/ 233 w 379"/>
                <a:gd name="T67" fmla="*/ 940 h 943"/>
                <a:gd name="T68" fmla="*/ 204 w 379"/>
                <a:gd name="T69" fmla="*/ 939 h 943"/>
                <a:gd name="T70" fmla="*/ 146 w 379"/>
                <a:gd name="T71" fmla="*/ 939 h 943"/>
                <a:gd name="T72" fmla="*/ 80 w 379"/>
                <a:gd name="T73" fmla="*/ 938 h 943"/>
                <a:gd name="T74" fmla="*/ 2 w 379"/>
                <a:gd name="T75" fmla="*/ 939 h 943"/>
                <a:gd name="T76" fmla="*/ 4 w 379"/>
                <a:gd name="T77" fmla="*/ 920 h 943"/>
                <a:gd name="T78" fmla="*/ 4 w 379"/>
                <a:gd name="T79" fmla="*/ 869 h 943"/>
                <a:gd name="T80" fmla="*/ 4 w 379"/>
                <a:gd name="T81" fmla="*/ 793 h 943"/>
                <a:gd name="T82" fmla="*/ 5 w 379"/>
                <a:gd name="T83" fmla="*/ 608 h 943"/>
                <a:gd name="T84" fmla="*/ 3 w 379"/>
                <a:gd name="T85" fmla="*/ 586 h 943"/>
                <a:gd name="T86" fmla="*/ 4 w 379"/>
                <a:gd name="T87" fmla="*/ 558 h 943"/>
                <a:gd name="T88" fmla="*/ 4 w 379"/>
                <a:gd name="T89" fmla="*/ 529 h 943"/>
                <a:gd name="T90" fmla="*/ 4 w 379"/>
                <a:gd name="T91" fmla="*/ 521 h 943"/>
                <a:gd name="T92" fmla="*/ 3 w 379"/>
                <a:gd name="T93" fmla="*/ 263 h 943"/>
                <a:gd name="T94" fmla="*/ 3 w 379"/>
                <a:gd name="T95" fmla="*/ 249 h 943"/>
                <a:gd name="T96" fmla="*/ 3 w 379"/>
                <a:gd name="T97" fmla="*/ 185 h 943"/>
                <a:gd name="T98" fmla="*/ 3 w 379"/>
                <a:gd name="T99" fmla="*/ 152 h 943"/>
                <a:gd name="T100" fmla="*/ 4 w 379"/>
                <a:gd name="T101" fmla="*/ 20 h 943"/>
                <a:gd name="T102" fmla="*/ 2 w 379"/>
                <a:gd name="T103" fmla="*/ 3 h 943"/>
                <a:gd name="T104" fmla="*/ 100 w 379"/>
                <a:gd name="T105" fmla="*/ 3 h 943"/>
                <a:gd name="T106" fmla="*/ 310 w 379"/>
                <a:gd name="T107" fmla="*/ 2 h 943"/>
                <a:gd name="T108" fmla="*/ 372 w 379"/>
                <a:gd name="T109" fmla="*/ 3 h 943"/>
                <a:gd name="T110" fmla="*/ 372 w 379"/>
                <a:gd name="T111" fmla="*/ 53 h 943"/>
                <a:gd name="T112" fmla="*/ 372 w 379"/>
                <a:gd name="T113" fmla="*/ 71 h 943"/>
                <a:gd name="T114" fmla="*/ 372 w 379"/>
                <a:gd name="T115" fmla="*/ 155 h 943"/>
                <a:gd name="T116" fmla="*/ 372 w 379"/>
                <a:gd name="T117" fmla="*/ 177 h 943"/>
                <a:gd name="T118" fmla="*/ 372 w 379"/>
                <a:gd name="T119" fmla="*/ 257 h 943"/>
                <a:gd name="T120" fmla="*/ 372 w 379"/>
                <a:gd name="T121" fmla="*/ 309 h 943"/>
                <a:gd name="T122" fmla="*/ 372 w 379"/>
                <a:gd name="T123" fmla="*/ 317 h 943"/>
                <a:gd name="T124" fmla="*/ 372 w 379"/>
                <a:gd name="T125" fmla="*/ 383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9" h="943">
                  <a:moveTo>
                    <a:pt x="372" y="383"/>
                  </a:moveTo>
                  <a:cubicBezTo>
                    <a:pt x="371" y="382"/>
                    <a:pt x="371" y="382"/>
                    <a:pt x="371" y="382"/>
                  </a:cubicBezTo>
                  <a:cubicBezTo>
                    <a:pt x="372" y="403"/>
                    <a:pt x="371" y="426"/>
                    <a:pt x="372" y="448"/>
                  </a:cubicBezTo>
                  <a:cubicBezTo>
                    <a:pt x="372" y="446"/>
                    <a:pt x="372" y="446"/>
                    <a:pt x="372" y="446"/>
                  </a:cubicBezTo>
                  <a:cubicBezTo>
                    <a:pt x="371" y="501"/>
                    <a:pt x="372" y="552"/>
                    <a:pt x="372" y="607"/>
                  </a:cubicBezTo>
                  <a:cubicBezTo>
                    <a:pt x="372" y="606"/>
                    <a:pt x="372" y="606"/>
                    <a:pt x="372" y="605"/>
                  </a:cubicBezTo>
                  <a:cubicBezTo>
                    <a:pt x="372" y="608"/>
                    <a:pt x="373" y="611"/>
                    <a:pt x="373" y="614"/>
                  </a:cubicBezTo>
                  <a:cubicBezTo>
                    <a:pt x="373" y="614"/>
                    <a:pt x="372" y="613"/>
                    <a:pt x="372" y="612"/>
                  </a:cubicBezTo>
                  <a:cubicBezTo>
                    <a:pt x="372" y="623"/>
                    <a:pt x="373" y="646"/>
                    <a:pt x="372" y="653"/>
                  </a:cubicBezTo>
                  <a:cubicBezTo>
                    <a:pt x="372" y="656"/>
                    <a:pt x="373" y="658"/>
                    <a:pt x="373" y="656"/>
                  </a:cubicBezTo>
                  <a:cubicBezTo>
                    <a:pt x="373" y="699"/>
                    <a:pt x="373" y="745"/>
                    <a:pt x="374" y="788"/>
                  </a:cubicBezTo>
                  <a:cubicBezTo>
                    <a:pt x="374" y="790"/>
                    <a:pt x="374" y="791"/>
                    <a:pt x="373" y="790"/>
                  </a:cubicBezTo>
                  <a:cubicBezTo>
                    <a:pt x="374" y="828"/>
                    <a:pt x="374" y="867"/>
                    <a:pt x="374" y="905"/>
                  </a:cubicBezTo>
                  <a:cubicBezTo>
                    <a:pt x="374" y="906"/>
                    <a:pt x="374" y="901"/>
                    <a:pt x="374" y="905"/>
                  </a:cubicBezTo>
                  <a:cubicBezTo>
                    <a:pt x="375" y="893"/>
                    <a:pt x="374" y="882"/>
                    <a:pt x="374" y="871"/>
                  </a:cubicBezTo>
                  <a:cubicBezTo>
                    <a:pt x="375" y="873"/>
                    <a:pt x="375" y="873"/>
                    <a:pt x="375" y="873"/>
                  </a:cubicBezTo>
                  <a:cubicBezTo>
                    <a:pt x="375" y="865"/>
                    <a:pt x="374" y="871"/>
                    <a:pt x="374" y="863"/>
                  </a:cubicBezTo>
                  <a:cubicBezTo>
                    <a:pt x="374" y="859"/>
                    <a:pt x="375" y="863"/>
                    <a:pt x="375" y="862"/>
                  </a:cubicBezTo>
                  <a:cubicBezTo>
                    <a:pt x="374" y="845"/>
                    <a:pt x="375" y="827"/>
                    <a:pt x="374" y="810"/>
                  </a:cubicBezTo>
                  <a:cubicBezTo>
                    <a:pt x="375" y="806"/>
                    <a:pt x="374" y="792"/>
                    <a:pt x="375" y="786"/>
                  </a:cubicBezTo>
                  <a:cubicBezTo>
                    <a:pt x="374" y="781"/>
                    <a:pt x="374" y="777"/>
                    <a:pt x="374" y="775"/>
                  </a:cubicBezTo>
                  <a:cubicBezTo>
                    <a:pt x="374" y="715"/>
                    <a:pt x="374" y="653"/>
                    <a:pt x="374" y="591"/>
                  </a:cubicBezTo>
                  <a:cubicBezTo>
                    <a:pt x="373" y="562"/>
                    <a:pt x="374" y="528"/>
                    <a:pt x="374" y="493"/>
                  </a:cubicBezTo>
                  <a:cubicBezTo>
                    <a:pt x="374" y="493"/>
                    <a:pt x="374" y="493"/>
                    <a:pt x="374" y="493"/>
                  </a:cubicBezTo>
                  <a:cubicBezTo>
                    <a:pt x="373" y="482"/>
                    <a:pt x="373" y="466"/>
                    <a:pt x="373" y="453"/>
                  </a:cubicBezTo>
                  <a:cubicBezTo>
                    <a:pt x="373" y="441"/>
                    <a:pt x="373" y="441"/>
                    <a:pt x="373" y="441"/>
                  </a:cubicBezTo>
                  <a:cubicBezTo>
                    <a:pt x="374" y="361"/>
                    <a:pt x="373" y="279"/>
                    <a:pt x="374" y="197"/>
                  </a:cubicBezTo>
                  <a:cubicBezTo>
                    <a:pt x="374" y="129"/>
                    <a:pt x="374" y="66"/>
                    <a:pt x="374" y="2"/>
                  </a:cubicBezTo>
                  <a:cubicBezTo>
                    <a:pt x="374" y="0"/>
                    <a:pt x="374" y="0"/>
                    <a:pt x="374" y="0"/>
                  </a:cubicBezTo>
                  <a:cubicBezTo>
                    <a:pt x="372" y="0"/>
                    <a:pt x="372" y="0"/>
                    <a:pt x="372" y="0"/>
                  </a:cubicBezTo>
                  <a:cubicBezTo>
                    <a:pt x="350" y="0"/>
                    <a:pt x="327" y="0"/>
                    <a:pt x="303" y="1"/>
                  </a:cubicBezTo>
                  <a:cubicBezTo>
                    <a:pt x="303" y="1"/>
                    <a:pt x="303" y="1"/>
                    <a:pt x="305" y="1"/>
                  </a:cubicBezTo>
                  <a:cubicBezTo>
                    <a:pt x="279" y="1"/>
                    <a:pt x="255" y="0"/>
                    <a:pt x="231" y="1"/>
                  </a:cubicBezTo>
                  <a:cubicBezTo>
                    <a:pt x="231" y="1"/>
                    <a:pt x="231" y="1"/>
                    <a:pt x="231" y="1"/>
                  </a:cubicBezTo>
                  <a:cubicBezTo>
                    <a:pt x="170" y="2"/>
                    <a:pt x="104" y="0"/>
                    <a:pt x="45" y="2"/>
                  </a:cubicBezTo>
                  <a:cubicBezTo>
                    <a:pt x="32" y="2"/>
                    <a:pt x="18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61"/>
                    <a:pt x="2" y="126"/>
                    <a:pt x="2" y="187"/>
                  </a:cubicBezTo>
                  <a:cubicBezTo>
                    <a:pt x="2" y="187"/>
                    <a:pt x="2" y="187"/>
                    <a:pt x="2" y="187"/>
                  </a:cubicBezTo>
                  <a:cubicBezTo>
                    <a:pt x="2" y="247"/>
                    <a:pt x="1" y="306"/>
                    <a:pt x="1" y="366"/>
                  </a:cubicBezTo>
                  <a:cubicBezTo>
                    <a:pt x="1" y="428"/>
                    <a:pt x="3" y="494"/>
                    <a:pt x="2" y="557"/>
                  </a:cubicBezTo>
                  <a:cubicBezTo>
                    <a:pt x="1" y="595"/>
                    <a:pt x="4" y="646"/>
                    <a:pt x="2" y="683"/>
                  </a:cubicBezTo>
                  <a:cubicBezTo>
                    <a:pt x="0" y="757"/>
                    <a:pt x="2" y="830"/>
                    <a:pt x="3" y="905"/>
                  </a:cubicBezTo>
                  <a:cubicBezTo>
                    <a:pt x="3" y="917"/>
                    <a:pt x="3" y="929"/>
                    <a:pt x="3" y="941"/>
                  </a:cubicBezTo>
                  <a:cubicBezTo>
                    <a:pt x="2" y="941"/>
                    <a:pt x="2" y="941"/>
                    <a:pt x="2" y="941"/>
                  </a:cubicBezTo>
                  <a:cubicBezTo>
                    <a:pt x="59" y="941"/>
                    <a:pt x="115" y="940"/>
                    <a:pt x="171" y="941"/>
                  </a:cubicBezTo>
                  <a:cubicBezTo>
                    <a:pt x="202" y="940"/>
                    <a:pt x="237" y="942"/>
                    <a:pt x="272" y="942"/>
                  </a:cubicBezTo>
                  <a:cubicBezTo>
                    <a:pt x="271" y="941"/>
                    <a:pt x="271" y="941"/>
                    <a:pt x="271" y="941"/>
                  </a:cubicBezTo>
                  <a:cubicBezTo>
                    <a:pt x="284" y="942"/>
                    <a:pt x="299" y="940"/>
                    <a:pt x="307" y="941"/>
                  </a:cubicBezTo>
                  <a:cubicBezTo>
                    <a:pt x="306" y="941"/>
                    <a:pt x="306" y="941"/>
                    <a:pt x="306" y="941"/>
                  </a:cubicBezTo>
                  <a:cubicBezTo>
                    <a:pt x="313" y="942"/>
                    <a:pt x="321" y="940"/>
                    <a:pt x="325" y="941"/>
                  </a:cubicBezTo>
                  <a:cubicBezTo>
                    <a:pt x="327" y="940"/>
                    <a:pt x="327" y="940"/>
                    <a:pt x="327" y="940"/>
                  </a:cubicBezTo>
                  <a:cubicBezTo>
                    <a:pt x="335" y="940"/>
                    <a:pt x="327" y="941"/>
                    <a:pt x="334" y="941"/>
                  </a:cubicBezTo>
                  <a:cubicBezTo>
                    <a:pt x="336" y="941"/>
                    <a:pt x="335" y="940"/>
                    <a:pt x="340" y="940"/>
                  </a:cubicBezTo>
                  <a:cubicBezTo>
                    <a:pt x="341" y="942"/>
                    <a:pt x="359" y="940"/>
                    <a:pt x="360" y="942"/>
                  </a:cubicBezTo>
                  <a:cubicBezTo>
                    <a:pt x="356" y="942"/>
                    <a:pt x="367" y="942"/>
                    <a:pt x="357" y="943"/>
                  </a:cubicBezTo>
                  <a:cubicBezTo>
                    <a:pt x="360" y="943"/>
                    <a:pt x="373" y="943"/>
                    <a:pt x="372" y="942"/>
                  </a:cubicBezTo>
                  <a:cubicBezTo>
                    <a:pt x="373" y="941"/>
                    <a:pt x="379" y="941"/>
                    <a:pt x="370" y="940"/>
                  </a:cubicBezTo>
                  <a:cubicBezTo>
                    <a:pt x="369" y="941"/>
                    <a:pt x="369" y="941"/>
                    <a:pt x="369" y="941"/>
                  </a:cubicBezTo>
                  <a:cubicBezTo>
                    <a:pt x="366" y="940"/>
                    <a:pt x="367" y="940"/>
                    <a:pt x="366" y="940"/>
                  </a:cubicBezTo>
                  <a:cubicBezTo>
                    <a:pt x="355" y="940"/>
                    <a:pt x="353" y="939"/>
                    <a:pt x="346" y="939"/>
                  </a:cubicBezTo>
                  <a:cubicBezTo>
                    <a:pt x="346" y="939"/>
                    <a:pt x="346" y="939"/>
                    <a:pt x="346" y="939"/>
                  </a:cubicBezTo>
                  <a:cubicBezTo>
                    <a:pt x="340" y="940"/>
                    <a:pt x="333" y="939"/>
                    <a:pt x="329" y="939"/>
                  </a:cubicBezTo>
                  <a:cubicBezTo>
                    <a:pt x="327" y="939"/>
                    <a:pt x="327" y="939"/>
                    <a:pt x="327" y="939"/>
                  </a:cubicBezTo>
                  <a:cubicBezTo>
                    <a:pt x="325" y="938"/>
                    <a:pt x="315" y="940"/>
                    <a:pt x="318" y="939"/>
                  </a:cubicBezTo>
                  <a:cubicBezTo>
                    <a:pt x="296" y="939"/>
                    <a:pt x="271" y="939"/>
                    <a:pt x="247" y="939"/>
                  </a:cubicBezTo>
                  <a:cubicBezTo>
                    <a:pt x="243" y="940"/>
                    <a:pt x="228" y="939"/>
                    <a:pt x="233" y="940"/>
                  </a:cubicBezTo>
                  <a:cubicBezTo>
                    <a:pt x="227" y="939"/>
                    <a:pt x="209" y="939"/>
                    <a:pt x="202" y="939"/>
                  </a:cubicBezTo>
                  <a:cubicBezTo>
                    <a:pt x="202" y="939"/>
                    <a:pt x="203" y="939"/>
                    <a:pt x="204" y="939"/>
                  </a:cubicBezTo>
                  <a:cubicBezTo>
                    <a:pt x="191" y="938"/>
                    <a:pt x="188" y="940"/>
                    <a:pt x="176" y="938"/>
                  </a:cubicBezTo>
                  <a:cubicBezTo>
                    <a:pt x="174" y="939"/>
                    <a:pt x="153" y="938"/>
                    <a:pt x="146" y="939"/>
                  </a:cubicBezTo>
                  <a:cubicBezTo>
                    <a:pt x="145" y="939"/>
                    <a:pt x="144" y="939"/>
                    <a:pt x="145" y="939"/>
                  </a:cubicBezTo>
                  <a:cubicBezTo>
                    <a:pt x="123" y="939"/>
                    <a:pt x="98" y="938"/>
                    <a:pt x="80" y="938"/>
                  </a:cubicBezTo>
                  <a:cubicBezTo>
                    <a:pt x="64" y="939"/>
                    <a:pt x="41" y="938"/>
                    <a:pt x="27" y="939"/>
                  </a:cubicBezTo>
                  <a:cubicBezTo>
                    <a:pt x="21" y="939"/>
                    <a:pt x="12" y="939"/>
                    <a:pt x="2" y="939"/>
                  </a:cubicBezTo>
                  <a:cubicBezTo>
                    <a:pt x="3" y="939"/>
                    <a:pt x="4" y="940"/>
                    <a:pt x="5" y="941"/>
                  </a:cubicBezTo>
                  <a:cubicBezTo>
                    <a:pt x="5" y="934"/>
                    <a:pt x="5" y="927"/>
                    <a:pt x="4" y="920"/>
                  </a:cubicBezTo>
                  <a:cubicBezTo>
                    <a:pt x="5" y="922"/>
                    <a:pt x="5" y="922"/>
                    <a:pt x="5" y="922"/>
                  </a:cubicBezTo>
                  <a:cubicBezTo>
                    <a:pt x="5" y="904"/>
                    <a:pt x="4" y="881"/>
                    <a:pt x="4" y="869"/>
                  </a:cubicBezTo>
                  <a:cubicBezTo>
                    <a:pt x="5" y="864"/>
                    <a:pt x="5" y="856"/>
                    <a:pt x="5" y="848"/>
                  </a:cubicBezTo>
                  <a:cubicBezTo>
                    <a:pt x="4" y="836"/>
                    <a:pt x="5" y="812"/>
                    <a:pt x="4" y="793"/>
                  </a:cubicBezTo>
                  <a:cubicBezTo>
                    <a:pt x="5" y="791"/>
                    <a:pt x="4" y="778"/>
                    <a:pt x="5" y="777"/>
                  </a:cubicBezTo>
                  <a:cubicBezTo>
                    <a:pt x="3" y="726"/>
                    <a:pt x="4" y="663"/>
                    <a:pt x="5" y="608"/>
                  </a:cubicBezTo>
                  <a:cubicBezTo>
                    <a:pt x="5" y="609"/>
                    <a:pt x="5" y="609"/>
                    <a:pt x="5" y="609"/>
                  </a:cubicBezTo>
                  <a:cubicBezTo>
                    <a:pt x="4" y="602"/>
                    <a:pt x="4" y="593"/>
                    <a:pt x="3" y="586"/>
                  </a:cubicBezTo>
                  <a:cubicBezTo>
                    <a:pt x="3" y="585"/>
                    <a:pt x="3" y="585"/>
                    <a:pt x="3" y="587"/>
                  </a:cubicBezTo>
                  <a:cubicBezTo>
                    <a:pt x="3" y="577"/>
                    <a:pt x="4" y="568"/>
                    <a:pt x="4" y="558"/>
                  </a:cubicBezTo>
                  <a:cubicBezTo>
                    <a:pt x="4" y="558"/>
                    <a:pt x="4" y="558"/>
                    <a:pt x="4" y="559"/>
                  </a:cubicBezTo>
                  <a:cubicBezTo>
                    <a:pt x="4" y="550"/>
                    <a:pt x="5" y="540"/>
                    <a:pt x="4" y="529"/>
                  </a:cubicBezTo>
                  <a:cubicBezTo>
                    <a:pt x="4" y="528"/>
                    <a:pt x="4" y="528"/>
                    <a:pt x="4" y="528"/>
                  </a:cubicBezTo>
                  <a:cubicBezTo>
                    <a:pt x="4" y="521"/>
                    <a:pt x="4" y="521"/>
                    <a:pt x="4" y="521"/>
                  </a:cubicBezTo>
                  <a:cubicBezTo>
                    <a:pt x="4" y="521"/>
                    <a:pt x="4" y="522"/>
                    <a:pt x="4" y="525"/>
                  </a:cubicBezTo>
                  <a:cubicBezTo>
                    <a:pt x="5" y="439"/>
                    <a:pt x="3" y="351"/>
                    <a:pt x="3" y="263"/>
                  </a:cubicBezTo>
                  <a:cubicBezTo>
                    <a:pt x="4" y="266"/>
                    <a:pt x="4" y="266"/>
                    <a:pt x="4" y="266"/>
                  </a:cubicBezTo>
                  <a:cubicBezTo>
                    <a:pt x="3" y="249"/>
                    <a:pt x="3" y="249"/>
                    <a:pt x="3" y="249"/>
                  </a:cubicBezTo>
                  <a:cubicBezTo>
                    <a:pt x="3" y="249"/>
                    <a:pt x="3" y="250"/>
                    <a:pt x="4" y="250"/>
                  </a:cubicBezTo>
                  <a:cubicBezTo>
                    <a:pt x="4" y="229"/>
                    <a:pt x="3" y="206"/>
                    <a:pt x="3" y="185"/>
                  </a:cubicBezTo>
                  <a:cubicBezTo>
                    <a:pt x="4" y="185"/>
                    <a:pt x="4" y="188"/>
                    <a:pt x="4" y="185"/>
                  </a:cubicBezTo>
                  <a:cubicBezTo>
                    <a:pt x="3" y="169"/>
                    <a:pt x="5" y="160"/>
                    <a:pt x="3" y="152"/>
                  </a:cubicBezTo>
                  <a:cubicBezTo>
                    <a:pt x="3" y="151"/>
                    <a:pt x="4" y="151"/>
                    <a:pt x="4" y="152"/>
                  </a:cubicBezTo>
                  <a:cubicBezTo>
                    <a:pt x="3" y="109"/>
                    <a:pt x="3" y="64"/>
                    <a:pt x="4" y="20"/>
                  </a:cubicBezTo>
                  <a:cubicBezTo>
                    <a:pt x="3" y="14"/>
                    <a:pt x="3" y="8"/>
                    <a:pt x="3" y="2"/>
                  </a:cubicBezTo>
                  <a:cubicBezTo>
                    <a:pt x="3" y="2"/>
                    <a:pt x="3" y="3"/>
                    <a:pt x="2" y="3"/>
                  </a:cubicBezTo>
                  <a:cubicBezTo>
                    <a:pt x="34" y="2"/>
                    <a:pt x="68" y="3"/>
                    <a:pt x="100" y="2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49" y="2"/>
                    <a:pt x="202" y="3"/>
                    <a:pt x="253" y="2"/>
                  </a:cubicBezTo>
                  <a:cubicBezTo>
                    <a:pt x="274" y="3"/>
                    <a:pt x="288" y="2"/>
                    <a:pt x="310" y="2"/>
                  </a:cubicBezTo>
                  <a:cubicBezTo>
                    <a:pt x="310" y="3"/>
                    <a:pt x="310" y="3"/>
                    <a:pt x="310" y="3"/>
                  </a:cubicBezTo>
                  <a:cubicBezTo>
                    <a:pt x="330" y="2"/>
                    <a:pt x="351" y="2"/>
                    <a:pt x="372" y="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1" y="19"/>
                    <a:pt x="371" y="36"/>
                    <a:pt x="372" y="53"/>
                  </a:cubicBezTo>
                  <a:cubicBezTo>
                    <a:pt x="371" y="51"/>
                    <a:pt x="371" y="51"/>
                    <a:pt x="371" y="51"/>
                  </a:cubicBezTo>
                  <a:cubicBezTo>
                    <a:pt x="372" y="56"/>
                    <a:pt x="371" y="73"/>
                    <a:pt x="372" y="71"/>
                  </a:cubicBezTo>
                  <a:cubicBezTo>
                    <a:pt x="372" y="78"/>
                    <a:pt x="372" y="78"/>
                    <a:pt x="372" y="78"/>
                  </a:cubicBezTo>
                  <a:cubicBezTo>
                    <a:pt x="374" y="103"/>
                    <a:pt x="371" y="124"/>
                    <a:pt x="372" y="155"/>
                  </a:cubicBezTo>
                  <a:cubicBezTo>
                    <a:pt x="372" y="153"/>
                    <a:pt x="372" y="153"/>
                    <a:pt x="372" y="153"/>
                  </a:cubicBezTo>
                  <a:cubicBezTo>
                    <a:pt x="372" y="161"/>
                    <a:pt x="372" y="171"/>
                    <a:pt x="372" y="177"/>
                  </a:cubicBezTo>
                  <a:cubicBezTo>
                    <a:pt x="372" y="176"/>
                    <a:pt x="372" y="177"/>
                    <a:pt x="372" y="175"/>
                  </a:cubicBezTo>
                  <a:cubicBezTo>
                    <a:pt x="371" y="201"/>
                    <a:pt x="372" y="230"/>
                    <a:pt x="372" y="257"/>
                  </a:cubicBezTo>
                  <a:cubicBezTo>
                    <a:pt x="371" y="254"/>
                    <a:pt x="371" y="254"/>
                    <a:pt x="371" y="254"/>
                  </a:cubicBezTo>
                  <a:cubicBezTo>
                    <a:pt x="372" y="267"/>
                    <a:pt x="372" y="292"/>
                    <a:pt x="372" y="309"/>
                  </a:cubicBezTo>
                  <a:cubicBezTo>
                    <a:pt x="372" y="308"/>
                    <a:pt x="372" y="308"/>
                    <a:pt x="372" y="308"/>
                  </a:cubicBezTo>
                  <a:cubicBezTo>
                    <a:pt x="372" y="317"/>
                    <a:pt x="372" y="317"/>
                    <a:pt x="372" y="317"/>
                  </a:cubicBezTo>
                  <a:cubicBezTo>
                    <a:pt x="371" y="317"/>
                    <a:pt x="371" y="317"/>
                    <a:pt x="371" y="317"/>
                  </a:cubicBezTo>
                  <a:cubicBezTo>
                    <a:pt x="371" y="340"/>
                    <a:pt x="372" y="361"/>
                    <a:pt x="372" y="383"/>
                  </a:cubicBezTo>
                  <a:close/>
                </a:path>
              </a:pathLst>
            </a:custGeom>
            <a:noFill/>
            <a:ln w="9525">
              <a:solidFill>
                <a:schemeClr val="bg2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76593E15-FFA6-4D79-87AD-F7AC4D4A45B3}"/>
                </a:ext>
              </a:extLst>
            </p:cNvPr>
            <p:cNvSpPr txBox="1"/>
            <p:nvPr/>
          </p:nvSpPr>
          <p:spPr>
            <a:xfrm>
              <a:off x="6429446" y="2909170"/>
              <a:ext cx="531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b="1"/>
                <a:t>2. 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83F0B4A-0A13-41E9-A50E-EACC9C7CB711}"/>
              </a:ext>
            </a:extLst>
          </p:cNvPr>
          <p:cNvGrpSpPr/>
          <p:nvPr/>
        </p:nvGrpSpPr>
        <p:grpSpPr>
          <a:xfrm>
            <a:off x="2097944" y="2883857"/>
            <a:ext cx="2685515" cy="1643022"/>
            <a:chOff x="1793143" y="2964976"/>
            <a:chExt cx="2685515" cy="1643022"/>
          </a:xfrm>
        </p:grpSpPr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9525DFA7-3F81-4393-BB7C-7FADFA448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1504" y="3313072"/>
              <a:ext cx="2647154" cy="1294926"/>
            </a:xfrm>
            <a:custGeom>
              <a:avLst/>
              <a:gdLst>
                <a:gd name="T0" fmla="*/ 371 w 379"/>
                <a:gd name="T1" fmla="*/ 382 h 943"/>
                <a:gd name="T2" fmla="*/ 372 w 379"/>
                <a:gd name="T3" fmla="*/ 446 h 943"/>
                <a:gd name="T4" fmla="*/ 372 w 379"/>
                <a:gd name="T5" fmla="*/ 605 h 943"/>
                <a:gd name="T6" fmla="*/ 372 w 379"/>
                <a:gd name="T7" fmla="*/ 612 h 943"/>
                <a:gd name="T8" fmla="*/ 373 w 379"/>
                <a:gd name="T9" fmla="*/ 656 h 943"/>
                <a:gd name="T10" fmla="*/ 373 w 379"/>
                <a:gd name="T11" fmla="*/ 790 h 943"/>
                <a:gd name="T12" fmla="*/ 374 w 379"/>
                <a:gd name="T13" fmla="*/ 905 h 943"/>
                <a:gd name="T14" fmla="*/ 375 w 379"/>
                <a:gd name="T15" fmla="*/ 873 h 943"/>
                <a:gd name="T16" fmla="*/ 375 w 379"/>
                <a:gd name="T17" fmla="*/ 862 h 943"/>
                <a:gd name="T18" fmla="*/ 375 w 379"/>
                <a:gd name="T19" fmla="*/ 786 h 943"/>
                <a:gd name="T20" fmla="*/ 374 w 379"/>
                <a:gd name="T21" fmla="*/ 591 h 943"/>
                <a:gd name="T22" fmla="*/ 374 w 379"/>
                <a:gd name="T23" fmla="*/ 493 h 943"/>
                <a:gd name="T24" fmla="*/ 373 w 379"/>
                <a:gd name="T25" fmla="*/ 441 h 943"/>
                <a:gd name="T26" fmla="*/ 374 w 379"/>
                <a:gd name="T27" fmla="*/ 2 h 943"/>
                <a:gd name="T28" fmla="*/ 372 w 379"/>
                <a:gd name="T29" fmla="*/ 0 h 943"/>
                <a:gd name="T30" fmla="*/ 305 w 379"/>
                <a:gd name="T31" fmla="*/ 1 h 943"/>
                <a:gd name="T32" fmla="*/ 231 w 379"/>
                <a:gd name="T33" fmla="*/ 1 h 943"/>
                <a:gd name="T34" fmla="*/ 2 w 379"/>
                <a:gd name="T35" fmla="*/ 2 h 943"/>
                <a:gd name="T36" fmla="*/ 2 w 379"/>
                <a:gd name="T37" fmla="*/ 2 h 943"/>
                <a:gd name="T38" fmla="*/ 2 w 379"/>
                <a:gd name="T39" fmla="*/ 187 h 943"/>
                <a:gd name="T40" fmla="*/ 2 w 379"/>
                <a:gd name="T41" fmla="*/ 557 h 943"/>
                <a:gd name="T42" fmla="*/ 3 w 379"/>
                <a:gd name="T43" fmla="*/ 905 h 943"/>
                <a:gd name="T44" fmla="*/ 2 w 379"/>
                <a:gd name="T45" fmla="*/ 941 h 943"/>
                <a:gd name="T46" fmla="*/ 272 w 379"/>
                <a:gd name="T47" fmla="*/ 942 h 943"/>
                <a:gd name="T48" fmla="*/ 307 w 379"/>
                <a:gd name="T49" fmla="*/ 941 h 943"/>
                <a:gd name="T50" fmla="*/ 325 w 379"/>
                <a:gd name="T51" fmla="*/ 941 h 943"/>
                <a:gd name="T52" fmla="*/ 334 w 379"/>
                <a:gd name="T53" fmla="*/ 941 h 943"/>
                <a:gd name="T54" fmla="*/ 360 w 379"/>
                <a:gd name="T55" fmla="*/ 942 h 943"/>
                <a:gd name="T56" fmla="*/ 372 w 379"/>
                <a:gd name="T57" fmla="*/ 942 h 943"/>
                <a:gd name="T58" fmla="*/ 369 w 379"/>
                <a:gd name="T59" fmla="*/ 941 h 943"/>
                <a:gd name="T60" fmla="*/ 346 w 379"/>
                <a:gd name="T61" fmla="*/ 939 h 943"/>
                <a:gd name="T62" fmla="*/ 329 w 379"/>
                <a:gd name="T63" fmla="*/ 939 h 943"/>
                <a:gd name="T64" fmla="*/ 318 w 379"/>
                <a:gd name="T65" fmla="*/ 939 h 943"/>
                <a:gd name="T66" fmla="*/ 233 w 379"/>
                <a:gd name="T67" fmla="*/ 940 h 943"/>
                <a:gd name="T68" fmla="*/ 204 w 379"/>
                <a:gd name="T69" fmla="*/ 939 h 943"/>
                <a:gd name="T70" fmla="*/ 146 w 379"/>
                <a:gd name="T71" fmla="*/ 939 h 943"/>
                <a:gd name="T72" fmla="*/ 80 w 379"/>
                <a:gd name="T73" fmla="*/ 938 h 943"/>
                <a:gd name="T74" fmla="*/ 2 w 379"/>
                <a:gd name="T75" fmla="*/ 939 h 943"/>
                <a:gd name="T76" fmla="*/ 4 w 379"/>
                <a:gd name="T77" fmla="*/ 920 h 943"/>
                <a:gd name="T78" fmla="*/ 4 w 379"/>
                <a:gd name="T79" fmla="*/ 869 h 943"/>
                <a:gd name="T80" fmla="*/ 4 w 379"/>
                <a:gd name="T81" fmla="*/ 793 h 943"/>
                <a:gd name="T82" fmla="*/ 5 w 379"/>
                <a:gd name="T83" fmla="*/ 608 h 943"/>
                <a:gd name="T84" fmla="*/ 3 w 379"/>
                <a:gd name="T85" fmla="*/ 586 h 943"/>
                <a:gd name="T86" fmla="*/ 4 w 379"/>
                <a:gd name="T87" fmla="*/ 558 h 943"/>
                <a:gd name="T88" fmla="*/ 4 w 379"/>
                <a:gd name="T89" fmla="*/ 529 h 943"/>
                <a:gd name="T90" fmla="*/ 4 w 379"/>
                <a:gd name="T91" fmla="*/ 521 h 943"/>
                <a:gd name="T92" fmla="*/ 3 w 379"/>
                <a:gd name="T93" fmla="*/ 263 h 943"/>
                <a:gd name="T94" fmla="*/ 3 w 379"/>
                <a:gd name="T95" fmla="*/ 249 h 943"/>
                <a:gd name="T96" fmla="*/ 3 w 379"/>
                <a:gd name="T97" fmla="*/ 185 h 943"/>
                <a:gd name="T98" fmla="*/ 3 w 379"/>
                <a:gd name="T99" fmla="*/ 152 h 943"/>
                <a:gd name="T100" fmla="*/ 4 w 379"/>
                <a:gd name="T101" fmla="*/ 20 h 943"/>
                <a:gd name="T102" fmla="*/ 2 w 379"/>
                <a:gd name="T103" fmla="*/ 3 h 943"/>
                <a:gd name="T104" fmla="*/ 100 w 379"/>
                <a:gd name="T105" fmla="*/ 3 h 943"/>
                <a:gd name="T106" fmla="*/ 310 w 379"/>
                <a:gd name="T107" fmla="*/ 2 h 943"/>
                <a:gd name="T108" fmla="*/ 372 w 379"/>
                <a:gd name="T109" fmla="*/ 3 h 943"/>
                <a:gd name="T110" fmla="*/ 372 w 379"/>
                <a:gd name="T111" fmla="*/ 53 h 943"/>
                <a:gd name="T112" fmla="*/ 372 w 379"/>
                <a:gd name="T113" fmla="*/ 71 h 943"/>
                <a:gd name="T114" fmla="*/ 372 w 379"/>
                <a:gd name="T115" fmla="*/ 155 h 943"/>
                <a:gd name="T116" fmla="*/ 372 w 379"/>
                <a:gd name="T117" fmla="*/ 177 h 943"/>
                <a:gd name="T118" fmla="*/ 372 w 379"/>
                <a:gd name="T119" fmla="*/ 257 h 943"/>
                <a:gd name="T120" fmla="*/ 372 w 379"/>
                <a:gd name="T121" fmla="*/ 309 h 943"/>
                <a:gd name="T122" fmla="*/ 372 w 379"/>
                <a:gd name="T123" fmla="*/ 317 h 943"/>
                <a:gd name="T124" fmla="*/ 372 w 379"/>
                <a:gd name="T125" fmla="*/ 383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9" h="943">
                  <a:moveTo>
                    <a:pt x="372" y="383"/>
                  </a:moveTo>
                  <a:cubicBezTo>
                    <a:pt x="371" y="382"/>
                    <a:pt x="371" y="382"/>
                    <a:pt x="371" y="382"/>
                  </a:cubicBezTo>
                  <a:cubicBezTo>
                    <a:pt x="372" y="403"/>
                    <a:pt x="371" y="426"/>
                    <a:pt x="372" y="448"/>
                  </a:cubicBezTo>
                  <a:cubicBezTo>
                    <a:pt x="372" y="446"/>
                    <a:pt x="372" y="446"/>
                    <a:pt x="372" y="446"/>
                  </a:cubicBezTo>
                  <a:cubicBezTo>
                    <a:pt x="371" y="501"/>
                    <a:pt x="372" y="552"/>
                    <a:pt x="372" y="607"/>
                  </a:cubicBezTo>
                  <a:cubicBezTo>
                    <a:pt x="372" y="606"/>
                    <a:pt x="372" y="606"/>
                    <a:pt x="372" y="605"/>
                  </a:cubicBezTo>
                  <a:cubicBezTo>
                    <a:pt x="372" y="608"/>
                    <a:pt x="373" y="611"/>
                    <a:pt x="373" y="614"/>
                  </a:cubicBezTo>
                  <a:cubicBezTo>
                    <a:pt x="373" y="614"/>
                    <a:pt x="372" y="613"/>
                    <a:pt x="372" y="612"/>
                  </a:cubicBezTo>
                  <a:cubicBezTo>
                    <a:pt x="372" y="623"/>
                    <a:pt x="373" y="646"/>
                    <a:pt x="372" y="653"/>
                  </a:cubicBezTo>
                  <a:cubicBezTo>
                    <a:pt x="372" y="656"/>
                    <a:pt x="373" y="658"/>
                    <a:pt x="373" y="656"/>
                  </a:cubicBezTo>
                  <a:cubicBezTo>
                    <a:pt x="373" y="699"/>
                    <a:pt x="373" y="745"/>
                    <a:pt x="374" y="788"/>
                  </a:cubicBezTo>
                  <a:cubicBezTo>
                    <a:pt x="374" y="790"/>
                    <a:pt x="374" y="791"/>
                    <a:pt x="373" y="790"/>
                  </a:cubicBezTo>
                  <a:cubicBezTo>
                    <a:pt x="374" y="828"/>
                    <a:pt x="374" y="867"/>
                    <a:pt x="374" y="905"/>
                  </a:cubicBezTo>
                  <a:cubicBezTo>
                    <a:pt x="374" y="906"/>
                    <a:pt x="374" y="901"/>
                    <a:pt x="374" y="905"/>
                  </a:cubicBezTo>
                  <a:cubicBezTo>
                    <a:pt x="375" y="893"/>
                    <a:pt x="374" y="882"/>
                    <a:pt x="374" y="871"/>
                  </a:cubicBezTo>
                  <a:cubicBezTo>
                    <a:pt x="375" y="873"/>
                    <a:pt x="375" y="873"/>
                    <a:pt x="375" y="873"/>
                  </a:cubicBezTo>
                  <a:cubicBezTo>
                    <a:pt x="375" y="865"/>
                    <a:pt x="374" y="871"/>
                    <a:pt x="374" y="863"/>
                  </a:cubicBezTo>
                  <a:cubicBezTo>
                    <a:pt x="374" y="859"/>
                    <a:pt x="375" y="863"/>
                    <a:pt x="375" y="862"/>
                  </a:cubicBezTo>
                  <a:cubicBezTo>
                    <a:pt x="374" y="845"/>
                    <a:pt x="375" y="827"/>
                    <a:pt x="374" y="810"/>
                  </a:cubicBezTo>
                  <a:cubicBezTo>
                    <a:pt x="375" y="806"/>
                    <a:pt x="374" y="792"/>
                    <a:pt x="375" y="786"/>
                  </a:cubicBezTo>
                  <a:cubicBezTo>
                    <a:pt x="374" y="781"/>
                    <a:pt x="374" y="777"/>
                    <a:pt x="374" y="775"/>
                  </a:cubicBezTo>
                  <a:cubicBezTo>
                    <a:pt x="374" y="715"/>
                    <a:pt x="374" y="653"/>
                    <a:pt x="374" y="591"/>
                  </a:cubicBezTo>
                  <a:cubicBezTo>
                    <a:pt x="373" y="562"/>
                    <a:pt x="374" y="528"/>
                    <a:pt x="374" y="493"/>
                  </a:cubicBezTo>
                  <a:cubicBezTo>
                    <a:pt x="374" y="493"/>
                    <a:pt x="374" y="493"/>
                    <a:pt x="374" y="493"/>
                  </a:cubicBezTo>
                  <a:cubicBezTo>
                    <a:pt x="373" y="482"/>
                    <a:pt x="373" y="466"/>
                    <a:pt x="373" y="453"/>
                  </a:cubicBezTo>
                  <a:cubicBezTo>
                    <a:pt x="373" y="441"/>
                    <a:pt x="373" y="441"/>
                    <a:pt x="373" y="441"/>
                  </a:cubicBezTo>
                  <a:cubicBezTo>
                    <a:pt x="374" y="361"/>
                    <a:pt x="373" y="279"/>
                    <a:pt x="374" y="197"/>
                  </a:cubicBezTo>
                  <a:cubicBezTo>
                    <a:pt x="374" y="129"/>
                    <a:pt x="374" y="66"/>
                    <a:pt x="374" y="2"/>
                  </a:cubicBezTo>
                  <a:cubicBezTo>
                    <a:pt x="374" y="0"/>
                    <a:pt x="374" y="0"/>
                    <a:pt x="374" y="0"/>
                  </a:cubicBezTo>
                  <a:cubicBezTo>
                    <a:pt x="372" y="0"/>
                    <a:pt x="372" y="0"/>
                    <a:pt x="372" y="0"/>
                  </a:cubicBezTo>
                  <a:cubicBezTo>
                    <a:pt x="350" y="0"/>
                    <a:pt x="327" y="0"/>
                    <a:pt x="303" y="1"/>
                  </a:cubicBezTo>
                  <a:cubicBezTo>
                    <a:pt x="303" y="1"/>
                    <a:pt x="303" y="1"/>
                    <a:pt x="305" y="1"/>
                  </a:cubicBezTo>
                  <a:cubicBezTo>
                    <a:pt x="279" y="1"/>
                    <a:pt x="255" y="0"/>
                    <a:pt x="231" y="1"/>
                  </a:cubicBezTo>
                  <a:cubicBezTo>
                    <a:pt x="231" y="1"/>
                    <a:pt x="231" y="1"/>
                    <a:pt x="231" y="1"/>
                  </a:cubicBezTo>
                  <a:cubicBezTo>
                    <a:pt x="170" y="2"/>
                    <a:pt x="104" y="0"/>
                    <a:pt x="45" y="2"/>
                  </a:cubicBezTo>
                  <a:cubicBezTo>
                    <a:pt x="32" y="2"/>
                    <a:pt x="18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61"/>
                    <a:pt x="2" y="126"/>
                    <a:pt x="2" y="187"/>
                  </a:cubicBezTo>
                  <a:cubicBezTo>
                    <a:pt x="2" y="187"/>
                    <a:pt x="2" y="187"/>
                    <a:pt x="2" y="187"/>
                  </a:cubicBezTo>
                  <a:cubicBezTo>
                    <a:pt x="2" y="247"/>
                    <a:pt x="1" y="306"/>
                    <a:pt x="1" y="366"/>
                  </a:cubicBezTo>
                  <a:cubicBezTo>
                    <a:pt x="1" y="428"/>
                    <a:pt x="3" y="494"/>
                    <a:pt x="2" y="557"/>
                  </a:cubicBezTo>
                  <a:cubicBezTo>
                    <a:pt x="1" y="595"/>
                    <a:pt x="4" y="646"/>
                    <a:pt x="2" y="683"/>
                  </a:cubicBezTo>
                  <a:cubicBezTo>
                    <a:pt x="0" y="757"/>
                    <a:pt x="2" y="830"/>
                    <a:pt x="3" y="905"/>
                  </a:cubicBezTo>
                  <a:cubicBezTo>
                    <a:pt x="3" y="917"/>
                    <a:pt x="3" y="929"/>
                    <a:pt x="3" y="941"/>
                  </a:cubicBezTo>
                  <a:cubicBezTo>
                    <a:pt x="2" y="941"/>
                    <a:pt x="2" y="941"/>
                    <a:pt x="2" y="941"/>
                  </a:cubicBezTo>
                  <a:cubicBezTo>
                    <a:pt x="59" y="941"/>
                    <a:pt x="115" y="940"/>
                    <a:pt x="171" y="941"/>
                  </a:cubicBezTo>
                  <a:cubicBezTo>
                    <a:pt x="202" y="940"/>
                    <a:pt x="237" y="942"/>
                    <a:pt x="272" y="942"/>
                  </a:cubicBezTo>
                  <a:cubicBezTo>
                    <a:pt x="271" y="941"/>
                    <a:pt x="271" y="941"/>
                    <a:pt x="271" y="941"/>
                  </a:cubicBezTo>
                  <a:cubicBezTo>
                    <a:pt x="284" y="942"/>
                    <a:pt x="299" y="940"/>
                    <a:pt x="307" y="941"/>
                  </a:cubicBezTo>
                  <a:cubicBezTo>
                    <a:pt x="306" y="941"/>
                    <a:pt x="306" y="941"/>
                    <a:pt x="306" y="941"/>
                  </a:cubicBezTo>
                  <a:cubicBezTo>
                    <a:pt x="313" y="942"/>
                    <a:pt x="321" y="940"/>
                    <a:pt x="325" y="941"/>
                  </a:cubicBezTo>
                  <a:cubicBezTo>
                    <a:pt x="327" y="940"/>
                    <a:pt x="327" y="940"/>
                    <a:pt x="327" y="940"/>
                  </a:cubicBezTo>
                  <a:cubicBezTo>
                    <a:pt x="335" y="940"/>
                    <a:pt x="327" y="941"/>
                    <a:pt x="334" y="941"/>
                  </a:cubicBezTo>
                  <a:cubicBezTo>
                    <a:pt x="336" y="941"/>
                    <a:pt x="335" y="940"/>
                    <a:pt x="340" y="940"/>
                  </a:cubicBezTo>
                  <a:cubicBezTo>
                    <a:pt x="341" y="942"/>
                    <a:pt x="359" y="940"/>
                    <a:pt x="360" y="942"/>
                  </a:cubicBezTo>
                  <a:cubicBezTo>
                    <a:pt x="356" y="942"/>
                    <a:pt x="367" y="942"/>
                    <a:pt x="357" y="943"/>
                  </a:cubicBezTo>
                  <a:cubicBezTo>
                    <a:pt x="360" y="943"/>
                    <a:pt x="373" y="943"/>
                    <a:pt x="372" y="942"/>
                  </a:cubicBezTo>
                  <a:cubicBezTo>
                    <a:pt x="373" y="941"/>
                    <a:pt x="379" y="941"/>
                    <a:pt x="370" y="940"/>
                  </a:cubicBezTo>
                  <a:cubicBezTo>
                    <a:pt x="369" y="941"/>
                    <a:pt x="369" y="941"/>
                    <a:pt x="369" y="941"/>
                  </a:cubicBezTo>
                  <a:cubicBezTo>
                    <a:pt x="366" y="940"/>
                    <a:pt x="367" y="940"/>
                    <a:pt x="366" y="940"/>
                  </a:cubicBezTo>
                  <a:cubicBezTo>
                    <a:pt x="355" y="940"/>
                    <a:pt x="353" y="939"/>
                    <a:pt x="346" y="939"/>
                  </a:cubicBezTo>
                  <a:cubicBezTo>
                    <a:pt x="346" y="939"/>
                    <a:pt x="346" y="939"/>
                    <a:pt x="346" y="939"/>
                  </a:cubicBezTo>
                  <a:cubicBezTo>
                    <a:pt x="340" y="940"/>
                    <a:pt x="333" y="939"/>
                    <a:pt x="329" y="939"/>
                  </a:cubicBezTo>
                  <a:cubicBezTo>
                    <a:pt x="327" y="939"/>
                    <a:pt x="327" y="939"/>
                    <a:pt x="327" y="939"/>
                  </a:cubicBezTo>
                  <a:cubicBezTo>
                    <a:pt x="325" y="938"/>
                    <a:pt x="315" y="940"/>
                    <a:pt x="318" y="939"/>
                  </a:cubicBezTo>
                  <a:cubicBezTo>
                    <a:pt x="296" y="939"/>
                    <a:pt x="271" y="939"/>
                    <a:pt x="247" y="939"/>
                  </a:cubicBezTo>
                  <a:cubicBezTo>
                    <a:pt x="243" y="940"/>
                    <a:pt x="228" y="939"/>
                    <a:pt x="233" y="940"/>
                  </a:cubicBezTo>
                  <a:cubicBezTo>
                    <a:pt x="227" y="939"/>
                    <a:pt x="209" y="939"/>
                    <a:pt x="202" y="939"/>
                  </a:cubicBezTo>
                  <a:cubicBezTo>
                    <a:pt x="202" y="939"/>
                    <a:pt x="203" y="939"/>
                    <a:pt x="204" y="939"/>
                  </a:cubicBezTo>
                  <a:cubicBezTo>
                    <a:pt x="191" y="938"/>
                    <a:pt x="188" y="940"/>
                    <a:pt x="176" y="938"/>
                  </a:cubicBezTo>
                  <a:cubicBezTo>
                    <a:pt x="174" y="939"/>
                    <a:pt x="153" y="938"/>
                    <a:pt x="146" y="939"/>
                  </a:cubicBezTo>
                  <a:cubicBezTo>
                    <a:pt x="145" y="939"/>
                    <a:pt x="144" y="939"/>
                    <a:pt x="145" y="939"/>
                  </a:cubicBezTo>
                  <a:cubicBezTo>
                    <a:pt x="123" y="939"/>
                    <a:pt x="98" y="938"/>
                    <a:pt x="80" y="938"/>
                  </a:cubicBezTo>
                  <a:cubicBezTo>
                    <a:pt x="64" y="939"/>
                    <a:pt x="41" y="938"/>
                    <a:pt x="27" y="939"/>
                  </a:cubicBezTo>
                  <a:cubicBezTo>
                    <a:pt x="21" y="939"/>
                    <a:pt x="12" y="939"/>
                    <a:pt x="2" y="939"/>
                  </a:cubicBezTo>
                  <a:cubicBezTo>
                    <a:pt x="3" y="939"/>
                    <a:pt x="4" y="940"/>
                    <a:pt x="5" y="941"/>
                  </a:cubicBezTo>
                  <a:cubicBezTo>
                    <a:pt x="5" y="934"/>
                    <a:pt x="5" y="927"/>
                    <a:pt x="4" y="920"/>
                  </a:cubicBezTo>
                  <a:cubicBezTo>
                    <a:pt x="5" y="922"/>
                    <a:pt x="5" y="922"/>
                    <a:pt x="5" y="922"/>
                  </a:cubicBezTo>
                  <a:cubicBezTo>
                    <a:pt x="5" y="904"/>
                    <a:pt x="4" y="881"/>
                    <a:pt x="4" y="869"/>
                  </a:cubicBezTo>
                  <a:cubicBezTo>
                    <a:pt x="5" y="864"/>
                    <a:pt x="5" y="856"/>
                    <a:pt x="5" y="848"/>
                  </a:cubicBezTo>
                  <a:cubicBezTo>
                    <a:pt x="4" y="836"/>
                    <a:pt x="5" y="812"/>
                    <a:pt x="4" y="793"/>
                  </a:cubicBezTo>
                  <a:cubicBezTo>
                    <a:pt x="5" y="791"/>
                    <a:pt x="4" y="778"/>
                    <a:pt x="5" y="777"/>
                  </a:cubicBezTo>
                  <a:cubicBezTo>
                    <a:pt x="3" y="726"/>
                    <a:pt x="4" y="663"/>
                    <a:pt x="5" y="608"/>
                  </a:cubicBezTo>
                  <a:cubicBezTo>
                    <a:pt x="5" y="609"/>
                    <a:pt x="5" y="609"/>
                    <a:pt x="5" y="609"/>
                  </a:cubicBezTo>
                  <a:cubicBezTo>
                    <a:pt x="4" y="602"/>
                    <a:pt x="4" y="593"/>
                    <a:pt x="3" y="586"/>
                  </a:cubicBezTo>
                  <a:cubicBezTo>
                    <a:pt x="3" y="585"/>
                    <a:pt x="3" y="585"/>
                    <a:pt x="3" y="587"/>
                  </a:cubicBezTo>
                  <a:cubicBezTo>
                    <a:pt x="3" y="577"/>
                    <a:pt x="4" y="568"/>
                    <a:pt x="4" y="558"/>
                  </a:cubicBezTo>
                  <a:cubicBezTo>
                    <a:pt x="4" y="558"/>
                    <a:pt x="4" y="558"/>
                    <a:pt x="4" y="559"/>
                  </a:cubicBezTo>
                  <a:cubicBezTo>
                    <a:pt x="4" y="550"/>
                    <a:pt x="5" y="540"/>
                    <a:pt x="4" y="529"/>
                  </a:cubicBezTo>
                  <a:cubicBezTo>
                    <a:pt x="4" y="528"/>
                    <a:pt x="4" y="528"/>
                    <a:pt x="4" y="528"/>
                  </a:cubicBezTo>
                  <a:cubicBezTo>
                    <a:pt x="4" y="521"/>
                    <a:pt x="4" y="521"/>
                    <a:pt x="4" y="521"/>
                  </a:cubicBezTo>
                  <a:cubicBezTo>
                    <a:pt x="4" y="521"/>
                    <a:pt x="4" y="522"/>
                    <a:pt x="4" y="525"/>
                  </a:cubicBezTo>
                  <a:cubicBezTo>
                    <a:pt x="5" y="439"/>
                    <a:pt x="3" y="351"/>
                    <a:pt x="3" y="263"/>
                  </a:cubicBezTo>
                  <a:cubicBezTo>
                    <a:pt x="4" y="266"/>
                    <a:pt x="4" y="266"/>
                    <a:pt x="4" y="266"/>
                  </a:cubicBezTo>
                  <a:cubicBezTo>
                    <a:pt x="3" y="249"/>
                    <a:pt x="3" y="249"/>
                    <a:pt x="3" y="249"/>
                  </a:cubicBezTo>
                  <a:cubicBezTo>
                    <a:pt x="3" y="249"/>
                    <a:pt x="3" y="250"/>
                    <a:pt x="4" y="250"/>
                  </a:cubicBezTo>
                  <a:cubicBezTo>
                    <a:pt x="4" y="229"/>
                    <a:pt x="3" y="206"/>
                    <a:pt x="3" y="185"/>
                  </a:cubicBezTo>
                  <a:cubicBezTo>
                    <a:pt x="4" y="185"/>
                    <a:pt x="4" y="188"/>
                    <a:pt x="4" y="185"/>
                  </a:cubicBezTo>
                  <a:cubicBezTo>
                    <a:pt x="3" y="169"/>
                    <a:pt x="5" y="160"/>
                    <a:pt x="3" y="152"/>
                  </a:cubicBezTo>
                  <a:cubicBezTo>
                    <a:pt x="3" y="151"/>
                    <a:pt x="4" y="151"/>
                    <a:pt x="4" y="152"/>
                  </a:cubicBezTo>
                  <a:cubicBezTo>
                    <a:pt x="3" y="109"/>
                    <a:pt x="3" y="64"/>
                    <a:pt x="4" y="20"/>
                  </a:cubicBezTo>
                  <a:cubicBezTo>
                    <a:pt x="3" y="14"/>
                    <a:pt x="3" y="8"/>
                    <a:pt x="3" y="2"/>
                  </a:cubicBezTo>
                  <a:cubicBezTo>
                    <a:pt x="3" y="2"/>
                    <a:pt x="3" y="3"/>
                    <a:pt x="2" y="3"/>
                  </a:cubicBezTo>
                  <a:cubicBezTo>
                    <a:pt x="34" y="2"/>
                    <a:pt x="68" y="3"/>
                    <a:pt x="100" y="2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49" y="2"/>
                    <a:pt x="202" y="3"/>
                    <a:pt x="253" y="2"/>
                  </a:cubicBezTo>
                  <a:cubicBezTo>
                    <a:pt x="274" y="3"/>
                    <a:pt x="288" y="2"/>
                    <a:pt x="310" y="2"/>
                  </a:cubicBezTo>
                  <a:cubicBezTo>
                    <a:pt x="310" y="3"/>
                    <a:pt x="310" y="3"/>
                    <a:pt x="310" y="3"/>
                  </a:cubicBezTo>
                  <a:cubicBezTo>
                    <a:pt x="330" y="2"/>
                    <a:pt x="351" y="2"/>
                    <a:pt x="372" y="3"/>
                  </a:cubicBezTo>
                  <a:cubicBezTo>
                    <a:pt x="372" y="2"/>
                    <a:pt x="372" y="2"/>
                    <a:pt x="372" y="2"/>
                  </a:cubicBezTo>
                  <a:cubicBezTo>
                    <a:pt x="371" y="19"/>
                    <a:pt x="371" y="36"/>
                    <a:pt x="372" y="53"/>
                  </a:cubicBezTo>
                  <a:cubicBezTo>
                    <a:pt x="371" y="51"/>
                    <a:pt x="371" y="51"/>
                    <a:pt x="371" y="51"/>
                  </a:cubicBezTo>
                  <a:cubicBezTo>
                    <a:pt x="372" y="56"/>
                    <a:pt x="371" y="73"/>
                    <a:pt x="372" y="71"/>
                  </a:cubicBezTo>
                  <a:cubicBezTo>
                    <a:pt x="372" y="78"/>
                    <a:pt x="372" y="78"/>
                    <a:pt x="372" y="78"/>
                  </a:cubicBezTo>
                  <a:cubicBezTo>
                    <a:pt x="374" y="103"/>
                    <a:pt x="371" y="124"/>
                    <a:pt x="372" y="155"/>
                  </a:cubicBezTo>
                  <a:cubicBezTo>
                    <a:pt x="372" y="153"/>
                    <a:pt x="372" y="153"/>
                    <a:pt x="372" y="153"/>
                  </a:cubicBezTo>
                  <a:cubicBezTo>
                    <a:pt x="372" y="161"/>
                    <a:pt x="372" y="171"/>
                    <a:pt x="372" y="177"/>
                  </a:cubicBezTo>
                  <a:cubicBezTo>
                    <a:pt x="372" y="176"/>
                    <a:pt x="372" y="177"/>
                    <a:pt x="372" y="175"/>
                  </a:cubicBezTo>
                  <a:cubicBezTo>
                    <a:pt x="371" y="201"/>
                    <a:pt x="372" y="230"/>
                    <a:pt x="372" y="257"/>
                  </a:cubicBezTo>
                  <a:cubicBezTo>
                    <a:pt x="371" y="254"/>
                    <a:pt x="371" y="254"/>
                    <a:pt x="371" y="254"/>
                  </a:cubicBezTo>
                  <a:cubicBezTo>
                    <a:pt x="372" y="267"/>
                    <a:pt x="372" y="292"/>
                    <a:pt x="372" y="309"/>
                  </a:cubicBezTo>
                  <a:cubicBezTo>
                    <a:pt x="372" y="308"/>
                    <a:pt x="372" y="308"/>
                    <a:pt x="372" y="308"/>
                  </a:cubicBezTo>
                  <a:cubicBezTo>
                    <a:pt x="372" y="317"/>
                    <a:pt x="372" y="317"/>
                    <a:pt x="372" y="317"/>
                  </a:cubicBezTo>
                  <a:cubicBezTo>
                    <a:pt x="371" y="317"/>
                    <a:pt x="371" y="317"/>
                    <a:pt x="371" y="317"/>
                  </a:cubicBezTo>
                  <a:cubicBezTo>
                    <a:pt x="371" y="340"/>
                    <a:pt x="372" y="361"/>
                    <a:pt x="372" y="383"/>
                  </a:cubicBezTo>
                  <a:close/>
                </a:path>
              </a:pathLst>
            </a:custGeom>
            <a:noFill/>
            <a:ln w="9525">
              <a:solidFill>
                <a:schemeClr val="bg2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72A233AC-12CF-4696-B099-C575F1DB1A7C}"/>
                </a:ext>
              </a:extLst>
            </p:cNvPr>
            <p:cNvSpPr txBox="1"/>
            <p:nvPr/>
          </p:nvSpPr>
          <p:spPr>
            <a:xfrm>
              <a:off x="1793143" y="2964976"/>
              <a:ext cx="531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b="1"/>
                <a:t>1. 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C07DA833-291C-486C-9DE1-8936795F5C79}"/>
                </a:ext>
              </a:extLst>
            </p:cNvPr>
            <p:cNvSpPr txBox="1"/>
            <p:nvPr/>
          </p:nvSpPr>
          <p:spPr>
            <a:xfrm>
              <a:off x="1963928" y="3387505"/>
              <a:ext cx="2514729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100" b="1"/>
                <a:t>Fakturaansvarlig</a:t>
              </a:r>
              <a:r>
                <a:rPr lang="nb-NO" sz="1100"/>
                <a:t> fyller ut kreditnotaskjema, innhenter bankopplysningene til kunden dersom det skal foretas en utbetaling, og sender kreditnotaskjemaet til salgsordreoppretter for registrering.</a:t>
              </a:r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F4ACD38F-B765-4578-B9D5-A0325DB9A6F1}"/>
              </a:ext>
            </a:extLst>
          </p:cNvPr>
          <p:cNvSpPr txBox="1"/>
          <p:nvPr/>
        </p:nvSpPr>
        <p:spPr>
          <a:xfrm>
            <a:off x="8577944" y="6033577"/>
            <a:ext cx="353837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Lenke til </a:t>
            </a:r>
            <a:r>
              <a:rPr lang="nb-NO" sz="1100">
                <a:hlinkClick r:id="rId6"/>
              </a:rPr>
              <a:t>rutinebeskrivelse</a:t>
            </a:r>
            <a:endParaRPr lang="nb-NO" sz="1100"/>
          </a:p>
          <a:p>
            <a:r>
              <a:rPr lang="nb-NO" sz="1100"/>
              <a:t>Lenke til </a:t>
            </a:r>
            <a:r>
              <a:rPr lang="nb-NO" sz="1100">
                <a:hlinkClick r:id="rId7"/>
              </a:rPr>
              <a:t>fakturagrunnlagskjema/kreditnotaskjema</a:t>
            </a:r>
            <a:endParaRPr lang="nb-NO" sz="1100"/>
          </a:p>
          <a:p>
            <a:r>
              <a:rPr lang="nb-NO" sz="1100"/>
              <a:t> 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28DD4AD-3DBD-4CA7-9E92-3963A1CF4F3C}"/>
              </a:ext>
            </a:extLst>
          </p:cNvPr>
          <p:cNvSpPr txBox="1"/>
          <p:nvPr/>
        </p:nvSpPr>
        <p:spPr>
          <a:xfrm>
            <a:off x="4061894" y="5237501"/>
            <a:ext cx="3743069" cy="715089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200">
                <a:solidFill>
                  <a:schemeClr val="bg1"/>
                </a:solidFill>
              </a:rPr>
              <a:t>Dersom fakturaansvarlig også har rollen salgsordreoppretter, vil vedkommende registrere kreditnotaen direkte i Unit4 ERP.</a:t>
            </a:r>
          </a:p>
        </p:txBody>
      </p:sp>
      <p:pic>
        <p:nvPicPr>
          <p:cNvPr id="74" name="Picture 73" descr="Icon&#10;&#10;Description automatically generated">
            <a:extLst>
              <a:ext uri="{FF2B5EF4-FFF2-40B4-BE49-F238E27FC236}">
                <a16:creationId xmlns:a16="http://schemas.microsoft.com/office/drawing/2014/main" id="{136F8EDB-CF9B-4982-8E6C-3C77CC2814C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1750" y="2078630"/>
            <a:ext cx="1089565" cy="1155600"/>
          </a:xfrm>
          <a:prstGeom prst="rect">
            <a:avLst/>
          </a:prstGeom>
        </p:spPr>
      </p:pic>
      <p:pic>
        <p:nvPicPr>
          <p:cNvPr id="75" name="Picture 74" descr="Icon&#10;&#10;Description automatically generated">
            <a:extLst>
              <a:ext uri="{FF2B5EF4-FFF2-40B4-BE49-F238E27FC236}">
                <a16:creationId xmlns:a16="http://schemas.microsoft.com/office/drawing/2014/main" id="{6E8213BA-CEDE-461A-8405-B3CFF727BB9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4315" y="2114547"/>
            <a:ext cx="1089566" cy="115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365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614148" y="2313439"/>
            <a:ext cx="2062014" cy="2296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b-NO">
              <a:solidFill>
                <a:schemeClr val="tx1"/>
              </a:solidFill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614148" y="1474146"/>
            <a:ext cx="10614320" cy="716437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/>
              <a:t>Formålet med rollen </a:t>
            </a:r>
            <a:r>
              <a:rPr lang="nb-NO" b="1"/>
              <a:t>Salgsordreoppretter</a:t>
            </a:r>
            <a:r>
              <a:rPr lang="nb-NO"/>
              <a:t> er å sørge for at salgsordre registreres korrekt i Unit4 ERP  </a:t>
            </a: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758929" y="2313438"/>
            <a:ext cx="31149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nb-NO" sz="1400" b="1">
                <a:solidFill>
                  <a:prstClr val="black"/>
                </a:solidFill>
                <a:latin typeface="Arial"/>
              </a:rPr>
              <a:t>Følgende oppgaver ligger til rollen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876345" y="2711236"/>
            <a:ext cx="5527426" cy="375985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/>
            <a:r>
              <a:rPr lang="nb-NO" sz="1400">
                <a:solidFill>
                  <a:prstClr val="black"/>
                </a:solidFill>
                <a:latin typeface="Arial"/>
              </a:rPr>
              <a:t>Registrere salgsordre i Unit4 ERP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876345" y="3212070"/>
            <a:ext cx="5527426" cy="39580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/>
            <a:r>
              <a:rPr lang="nb-NO" sz="1400">
                <a:solidFill>
                  <a:prstClr val="black"/>
                </a:solidFill>
                <a:latin typeface="Arial"/>
              </a:rPr>
              <a:t>Laste opp eksterne og interne vedlegg tilknyttet salgsordre i Unit4 ERP</a:t>
            </a: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876345" y="3732723"/>
            <a:ext cx="5527426" cy="39580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/>
            <a:r>
              <a:rPr lang="nb-NO" sz="1400">
                <a:solidFill>
                  <a:prstClr val="black"/>
                </a:solidFill>
                <a:latin typeface="Arial"/>
              </a:rPr>
              <a:t>Registrere og sende ut kreditnota på flyt til kostnadsgodkjenner</a:t>
            </a: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876345" y="4214240"/>
            <a:ext cx="5521435" cy="39580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/>
            <a:r>
              <a:rPr lang="nb-NO" sz="1400">
                <a:solidFill>
                  <a:prstClr val="black"/>
                </a:solidFill>
                <a:latin typeface="Arial"/>
              </a:rPr>
              <a:t>Ha dialog med fakturautsteder for avklaringer ifm. etterkontroll av utgående faktur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727359" y="4922189"/>
            <a:ext cx="105175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/>
              <a:t>Det anbefales at salgsordreoppretter-rollen tildeles ansatte på fakultet/institutt som har rollen </a:t>
            </a:r>
            <a:r>
              <a:rPr lang="nb-NO" sz="1800" b="1"/>
              <a:t>fakturaansvarlig. </a:t>
            </a:r>
            <a:r>
              <a:rPr lang="nb-NO" sz="1800"/>
              <a:t>En salgsordreoppretter vil derfor også ha ansvar og oppgaver som ligger til denne rollen. </a:t>
            </a:r>
            <a:endParaRPr lang="nb-NO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401847" y="397785"/>
            <a:ext cx="11224996" cy="525401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800"/>
              <a:t>Salgsordreoppretter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8507490" y="2711237"/>
            <a:ext cx="2737417" cy="18988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Økonomimodell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Mva. behandling av inntek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Reglement for økonomistyring i state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Bokføringslov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Unit4 ER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Rutiner i </a:t>
            </a:r>
            <a:r>
              <a:rPr lang="nb-NO" sz="1400" err="1">
                <a:solidFill>
                  <a:schemeClr val="tx1"/>
                </a:solidFill>
              </a:rPr>
              <a:t>fti</a:t>
            </a:r>
            <a:r>
              <a:rPr lang="nb-NO" sz="1400">
                <a:solidFill>
                  <a:schemeClr val="tx1"/>
                </a:solidFill>
              </a:rPr>
              <a:t>-prosess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400">
              <a:solidFill>
                <a:schemeClr val="tx1"/>
              </a:solidFill>
            </a:endParaRP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8412480" y="2358281"/>
            <a:ext cx="1627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nb-NO" sz="1400" b="1">
                <a:solidFill>
                  <a:prstClr val="black"/>
                </a:solidFill>
                <a:latin typeface="Arial"/>
              </a:rPr>
              <a:t>Kompetansekrav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713D4C77-D325-47BB-8B16-189281252B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138" y="2322548"/>
            <a:ext cx="2076936" cy="2202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4582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4620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614148" y="2313439"/>
            <a:ext cx="2062014" cy="32625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b-NO">
              <a:solidFill>
                <a:schemeClr val="tx1"/>
              </a:solidFill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614148" y="1474146"/>
            <a:ext cx="10614320" cy="716437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/>
              <a:t>Formålet med rollen </a:t>
            </a:r>
            <a:r>
              <a:rPr lang="nb-NO" b="1"/>
              <a:t>Fakturaansvarlig</a:t>
            </a:r>
            <a:r>
              <a:rPr lang="nb-NO"/>
              <a:t> er å sikre at faktura og kreditnota blir korrekt</a:t>
            </a: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758929" y="2313438"/>
            <a:ext cx="27671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nb-NO" sz="1400" b="1">
                <a:solidFill>
                  <a:prstClr val="black"/>
                </a:solidFill>
                <a:latin typeface="Arial"/>
              </a:rPr>
              <a:t>Rollen har følgende oppgaver: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856411" y="2711236"/>
            <a:ext cx="5565113" cy="375985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/>
            <a:r>
              <a:rPr lang="nb-NO" sz="1400">
                <a:solidFill>
                  <a:prstClr val="black"/>
                </a:solidFill>
                <a:latin typeface="Arial"/>
              </a:rPr>
              <a:t>Samhandle med ordremottaker for korrekt grunnlagsdata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856411" y="3212070"/>
            <a:ext cx="5565113" cy="39580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/>
            <a:r>
              <a:rPr lang="nb-NO" sz="1400">
                <a:solidFill>
                  <a:prstClr val="black"/>
                </a:solidFill>
                <a:latin typeface="Arial"/>
              </a:rPr>
              <a:t>Ved bruk av salg- og kundemodul, ferdigstille fakturagrunnlags- og kreditnotaskjema</a:t>
            </a: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847367" y="3732723"/>
            <a:ext cx="5565113" cy="39580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/>
            <a:r>
              <a:rPr lang="nb-NO" sz="1400">
                <a:solidFill>
                  <a:prstClr val="black"/>
                </a:solidFill>
                <a:latin typeface="Arial"/>
              </a:rPr>
              <a:t>Sørge for riktig kontering</a:t>
            </a: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847367" y="4214240"/>
            <a:ext cx="5565113" cy="39580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/>
            <a:r>
              <a:rPr lang="nb-NO" sz="1400">
                <a:solidFill>
                  <a:prstClr val="black"/>
                </a:solidFill>
                <a:latin typeface="Arial"/>
              </a:rPr>
              <a:t>Ha dialog med kunden ved fakturaspørsmål</a:t>
            </a:r>
          </a:p>
        </p:txBody>
      </p:sp>
      <p:sp>
        <p:nvSpPr>
          <p:cNvPr id="24" name="Rektangel 19">
            <a:extLst>
              <a:ext uri="{FF2B5EF4-FFF2-40B4-BE49-F238E27FC236}">
                <a16:creationId xmlns:a16="http://schemas.microsoft.com/office/drawing/2014/main" id="{23AEC419-C0DF-4869-BF5D-3CA8111264F9}"/>
              </a:ext>
            </a:extLst>
          </p:cNvPr>
          <p:cNvSpPr/>
          <p:nvPr/>
        </p:nvSpPr>
        <p:spPr>
          <a:xfrm>
            <a:off x="2847367" y="4699898"/>
            <a:ext cx="5571125" cy="39580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/>
            <a:r>
              <a:rPr lang="nb-NO" sz="1400">
                <a:solidFill>
                  <a:prstClr val="black"/>
                </a:solidFill>
                <a:latin typeface="Arial"/>
              </a:rPr>
              <a:t>Registrere kundeopplysning og sende til godkjenning dersom behov for å opprette ny/endre kunde</a:t>
            </a:r>
          </a:p>
        </p:txBody>
      </p:sp>
      <p:sp>
        <p:nvSpPr>
          <p:cNvPr id="26" name="Rektangel 19">
            <a:extLst>
              <a:ext uri="{FF2B5EF4-FFF2-40B4-BE49-F238E27FC236}">
                <a16:creationId xmlns:a16="http://schemas.microsoft.com/office/drawing/2014/main" id="{141C2160-9B50-412D-B02F-9D7A4A27226C}"/>
              </a:ext>
            </a:extLst>
          </p:cNvPr>
          <p:cNvSpPr/>
          <p:nvPr/>
        </p:nvSpPr>
        <p:spPr>
          <a:xfrm>
            <a:off x="2847367" y="5180187"/>
            <a:ext cx="5571125" cy="39580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/>
            <a:r>
              <a:rPr lang="nb-NO" sz="1400">
                <a:solidFill>
                  <a:prstClr val="black"/>
                </a:solidFill>
                <a:latin typeface="Arial"/>
              </a:rPr>
              <a:t>Følge opp forfalte krav 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32B954A-82E7-4DA1-BB26-B1F9E3309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638" y="398463"/>
            <a:ext cx="11225212" cy="525401"/>
          </a:xfrm>
        </p:spPr>
        <p:txBody>
          <a:bodyPr vert="horz"/>
          <a:lstStyle/>
          <a:p>
            <a:r>
              <a:rPr lang="nb-NO" sz="2800"/>
              <a:t>Fakturaansvarlig</a:t>
            </a:r>
          </a:p>
        </p:txBody>
      </p:sp>
      <p:sp>
        <p:nvSpPr>
          <p:cNvPr id="28" name="Rektangel 7">
            <a:extLst>
              <a:ext uri="{FF2B5EF4-FFF2-40B4-BE49-F238E27FC236}">
                <a16:creationId xmlns:a16="http://schemas.microsoft.com/office/drawing/2014/main" id="{F8053D1F-2705-49FA-B579-99493A0E10A3}"/>
              </a:ext>
            </a:extLst>
          </p:cNvPr>
          <p:cNvSpPr/>
          <p:nvPr/>
        </p:nvSpPr>
        <p:spPr>
          <a:xfrm>
            <a:off x="8491050" y="2711236"/>
            <a:ext cx="2737417" cy="28647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Økonomimodell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Mva. behandling av inntek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Reglement for økonomistyring i sta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Bokføringslov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Brønnøysund- og ELMA-registere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Bruk av fakturagrunnlags-skjema/kreditnotaskjem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tx1"/>
                </a:solidFill>
              </a:rPr>
              <a:t>Rutiner i </a:t>
            </a:r>
            <a:r>
              <a:rPr lang="nb-NO" sz="1400" err="1">
                <a:solidFill>
                  <a:schemeClr val="tx1"/>
                </a:solidFill>
              </a:rPr>
              <a:t>fti</a:t>
            </a:r>
            <a:r>
              <a:rPr lang="nb-NO" sz="1400">
                <a:solidFill>
                  <a:schemeClr val="tx1"/>
                </a:solidFill>
              </a:rPr>
              <a:t>-prosessen</a:t>
            </a:r>
          </a:p>
          <a:p>
            <a:endParaRPr lang="nb-NO" sz="1400">
              <a:solidFill>
                <a:schemeClr val="tx1"/>
              </a:solidFill>
            </a:endParaRPr>
          </a:p>
        </p:txBody>
      </p:sp>
      <p:sp>
        <p:nvSpPr>
          <p:cNvPr id="29" name="TekstSylinder 2">
            <a:extLst>
              <a:ext uri="{FF2B5EF4-FFF2-40B4-BE49-F238E27FC236}">
                <a16:creationId xmlns:a16="http://schemas.microsoft.com/office/drawing/2014/main" id="{29A77F38-E70E-44D5-84F6-A951595C4F53}"/>
              </a:ext>
            </a:extLst>
          </p:cNvPr>
          <p:cNvSpPr txBox="1"/>
          <p:nvPr/>
        </p:nvSpPr>
        <p:spPr>
          <a:xfrm>
            <a:off x="8412480" y="2358281"/>
            <a:ext cx="1627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nb-NO" sz="1400" b="1">
                <a:solidFill>
                  <a:prstClr val="black"/>
                </a:solidFill>
                <a:latin typeface="Arial"/>
              </a:rPr>
              <a:t>Kompetansekrav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10072AD-BA55-46B3-841D-8F29728A9567}"/>
              </a:ext>
            </a:extLst>
          </p:cNvPr>
          <p:cNvSpPr txBox="1"/>
          <p:nvPr/>
        </p:nvSpPr>
        <p:spPr>
          <a:xfrm>
            <a:off x="8072847" y="5835034"/>
            <a:ext cx="32570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Lenke til </a:t>
            </a:r>
            <a:r>
              <a:rPr lang="nb-NO" sz="1100">
                <a:hlinkClick r:id="rId6"/>
              </a:rPr>
              <a:t>fakturagrunnlagskjema/kreditnotaskjema</a:t>
            </a:r>
            <a:endParaRPr lang="nb-NO" sz="1100"/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A147981F-7232-41BC-9D97-F1F7E3BF5A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48" y="2711236"/>
            <a:ext cx="2077303" cy="22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9097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666F28-E1F0-4AC7-B0E0-E3B90D4112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941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666F28-E1F0-4AC7-B0E0-E3B90D4112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FD54F4-88AF-4BEC-A38F-3C859C193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1202510"/>
          </a:xfrm>
          <a:noFill/>
        </p:spPr>
        <p:txBody>
          <a:bodyPr vert="horz"/>
          <a:lstStyle/>
          <a:p>
            <a:r>
              <a:rPr lang="nb-NO" sz="3600"/>
              <a:t>Gevinster ved å ha rollen salgsordreoppretter på fakult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53F892-4701-41C1-B231-C71535D14A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2118455"/>
            <a:ext cx="7296530" cy="4046931"/>
          </a:xfrm>
        </p:spPr>
        <p:txBody>
          <a:bodyPr/>
          <a:lstStyle/>
          <a:p>
            <a:r>
              <a:rPr lang="nb-NO" sz="1600" b="1"/>
              <a:t>Unngår dobbeltarbeid: </a:t>
            </a:r>
            <a:r>
              <a:rPr lang="nb-NO" sz="1600"/>
              <a:t>Salgsordre som mottas fra ordremottaker registreres rett i Unit4 ERP, og ikke først i et fakturagrunnlagsskjema for så å sendes til sentral økonomiavdeling. </a:t>
            </a:r>
          </a:p>
          <a:p>
            <a:endParaRPr lang="nb-NO" sz="1600"/>
          </a:p>
          <a:p>
            <a:r>
              <a:rPr lang="nb-NO" sz="1600" b="1"/>
              <a:t>Kontroll på hvor raskt en ordre blir fakturert</a:t>
            </a:r>
            <a:r>
              <a:rPr lang="nb-NO" sz="1600"/>
              <a:t>: Fakultetet eier en større del av faktureringsprosessen selv, og unngår dermed en mulig flaskehals sentralt.</a:t>
            </a:r>
            <a:br>
              <a:rPr lang="nb-NO" sz="1600"/>
            </a:br>
            <a:endParaRPr lang="nb-NO" sz="1600"/>
          </a:p>
          <a:p>
            <a:r>
              <a:rPr lang="nb-NO" sz="1600" b="1"/>
              <a:t>Hjelp av systemet</a:t>
            </a:r>
            <a:r>
              <a:rPr lang="nb-NO" sz="1600"/>
              <a:t>: Mer automatikk i utfylling av salgsordre i Unit4 ERP. Konto følger automatisk fra artikkel. Ingen automatikk i utfyllingen av fakturagrunnlagsskjema/kreditnotaskjema.</a:t>
            </a:r>
          </a:p>
          <a:p>
            <a:endParaRPr lang="nb-NO" sz="1600"/>
          </a:p>
          <a:p>
            <a:r>
              <a:rPr lang="nb-NO" sz="1600" b="1"/>
              <a:t>Stikkprøvekontroll før utsending: </a:t>
            </a:r>
            <a:r>
              <a:rPr lang="nb-NO" sz="1600"/>
              <a:t>Det gjøres stikkprøver sentralt for å avdekke feil i fakturaer før utsendelse til kunde. Dette forventes å redusere antall kreditnota. </a:t>
            </a:r>
            <a:endParaRPr lang="nb-NO" sz="1600" b="1"/>
          </a:p>
          <a:p>
            <a:endParaRPr lang="nb-NO" sz="2000"/>
          </a:p>
          <a:p>
            <a:endParaRPr lang="nb-NO" sz="2000"/>
          </a:p>
        </p:txBody>
      </p:sp>
      <p:pic>
        <p:nvPicPr>
          <p:cNvPr id="10" name="Content Placeholder 17" descr="A picture containing text&#10;&#10;Description automatically generated">
            <a:extLst>
              <a:ext uri="{FF2B5EF4-FFF2-40B4-BE49-F238E27FC236}">
                <a16:creationId xmlns:a16="http://schemas.microsoft.com/office/drawing/2014/main" id="{20540E0D-5259-41E4-B996-8BCACEDF3F6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9114" r="21671"/>
          <a:stretch/>
        </p:blipFill>
        <p:spPr>
          <a:xfrm>
            <a:off x="7934960" y="2498232"/>
            <a:ext cx="2958739" cy="3095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0219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23BCB5D-CC4A-49B8-933D-2660CBBBFB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4599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23BCB5D-CC4A-49B8-933D-2660CBBBFB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0D33C8-DE39-4A97-A2C8-1760C52EC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525401"/>
          </a:xfrm>
        </p:spPr>
        <p:txBody>
          <a:bodyPr vert="horz"/>
          <a:lstStyle/>
          <a:p>
            <a:r>
              <a:rPr lang="nb-NO" sz="2800"/>
              <a:t>Hva er viktig å tenke på i innmelding i rollen?</a:t>
            </a:r>
          </a:p>
        </p:txBody>
      </p:sp>
      <p:sp>
        <p:nvSpPr>
          <p:cNvPr id="13" name="Rektangel 7">
            <a:extLst>
              <a:ext uri="{FF2B5EF4-FFF2-40B4-BE49-F238E27FC236}">
                <a16:creationId xmlns:a16="http://schemas.microsoft.com/office/drawing/2014/main" id="{C0378302-82AF-4D15-857A-61BAE396462F}"/>
              </a:ext>
            </a:extLst>
          </p:cNvPr>
          <p:cNvSpPr/>
          <p:nvPr/>
        </p:nvSpPr>
        <p:spPr>
          <a:xfrm>
            <a:off x="1921241" y="2123235"/>
            <a:ext cx="8877387" cy="8948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buClr>
                <a:srgbClr val="000000"/>
              </a:buClr>
            </a:pPr>
            <a:r>
              <a:rPr lang="nb-NO" sz="1600" kern="0">
                <a:solidFill>
                  <a:srgbClr val="000000"/>
                </a:solidFill>
                <a:latin typeface="Arial"/>
                <a:sym typeface="Arial"/>
              </a:rPr>
              <a:t>Det anbefales at rollen tildeles ansatte på fakultet/institutt som også skal ha rollen fakturaansvarlig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1E5B2D-E235-4B82-9A2F-960CD46C7B76}"/>
              </a:ext>
            </a:extLst>
          </p:cNvPr>
          <p:cNvSpPr txBox="1"/>
          <p:nvPr/>
        </p:nvSpPr>
        <p:spPr>
          <a:xfrm>
            <a:off x="1898474" y="1649394"/>
            <a:ext cx="21684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/>
              <a:t>Anbefalinger</a:t>
            </a:r>
            <a:endParaRPr lang="nb-NO" b="1"/>
          </a:p>
        </p:txBody>
      </p:sp>
      <p:sp>
        <p:nvSpPr>
          <p:cNvPr id="15" name="Rektangel 24">
            <a:extLst>
              <a:ext uri="{FF2B5EF4-FFF2-40B4-BE49-F238E27FC236}">
                <a16:creationId xmlns:a16="http://schemas.microsoft.com/office/drawing/2014/main" id="{3F0453DB-1F28-4C5D-912B-1F5A133768D7}"/>
              </a:ext>
            </a:extLst>
          </p:cNvPr>
          <p:cNvSpPr/>
          <p:nvPr/>
        </p:nvSpPr>
        <p:spPr>
          <a:xfrm>
            <a:off x="641075" y="2145881"/>
            <a:ext cx="1187725" cy="8722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66ABB68-7DD4-481C-B049-9637F5E84911}"/>
              </a:ext>
            </a:extLst>
          </p:cNvPr>
          <p:cNvGrpSpPr/>
          <p:nvPr/>
        </p:nvGrpSpPr>
        <p:grpSpPr>
          <a:xfrm>
            <a:off x="641074" y="4023835"/>
            <a:ext cx="10157553" cy="896400"/>
            <a:chOff x="641074" y="3200711"/>
            <a:chExt cx="10157553" cy="1031008"/>
          </a:xfrm>
        </p:grpSpPr>
        <p:sp>
          <p:nvSpPr>
            <p:cNvPr id="16" name="Rektangel 24">
              <a:extLst>
                <a:ext uri="{FF2B5EF4-FFF2-40B4-BE49-F238E27FC236}">
                  <a16:creationId xmlns:a16="http://schemas.microsoft.com/office/drawing/2014/main" id="{7B4DA53D-4585-456A-BBBB-6ED308BF122E}"/>
                </a:ext>
              </a:extLst>
            </p:cNvPr>
            <p:cNvSpPr/>
            <p:nvPr/>
          </p:nvSpPr>
          <p:spPr>
            <a:xfrm>
              <a:off x="641074" y="3212034"/>
              <a:ext cx="1187725" cy="101968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solidFill>
                  <a:schemeClr val="tx1"/>
                </a:solidFill>
              </a:endParaRPr>
            </a:p>
          </p:txBody>
        </p:sp>
        <p:sp>
          <p:nvSpPr>
            <p:cNvPr id="17" name="Rektangel 7">
              <a:extLst>
                <a:ext uri="{FF2B5EF4-FFF2-40B4-BE49-F238E27FC236}">
                  <a16:creationId xmlns:a16="http://schemas.microsoft.com/office/drawing/2014/main" id="{0161E115-B38E-4B08-BBF9-8C47F7E089D7}"/>
                </a:ext>
              </a:extLst>
            </p:cNvPr>
            <p:cNvSpPr/>
            <p:nvPr/>
          </p:nvSpPr>
          <p:spPr>
            <a:xfrm>
              <a:off x="1921240" y="3200711"/>
              <a:ext cx="8877387" cy="10310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r>
                <a:rPr lang="nb-NO" sz="1600" kern="0">
                  <a:solidFill>
                    <a:srgbClr val="000000"/>
                  </a:solidFill>
                  <a:latin typeface="Arial"/>
                  <a:sym typeface="Arial"/>
                </a:rPr>
                <a:t>Hvert fakultet anbefales å ha minimum to salgsordreoppretter for å ha back-up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2ED4B62-7A91-4877-9A3C-A48F31AE16DE}"/>
              </a:ext>
            </a:extLst>
          </p:cNvPr>
          <p:cNvGrpSpPr/>
          <p:nvPr/>
        </p:nvGrpSpPr>
        <p:grpSpPr>
          <a:xfrm>
            <a:off x="641077" y="3075493"/>
            <a:ext cx="10157551" cy="896400"/>
            <a:chOff x="641075" y="4285569"/>
            <a:chExt cx="10157551" cy="1042331"/>
          </a:xfrm>
        </p:grpSpPr>
        <p:sp>
          <p:nvSpPr>
            <p:cNvPr id="22" name="Rektangel 7">
              <a:extLst>
                <a:ext uri="{FF2B5EF4-FFF2-40B4-BE49-F238E27FC236}">
                  <a16:creationId xmlns:a16="http://schemas.microsoft.com/office/drawing/2014/main" id="{B7CCA53C-39A3-4634-A493-D96A2A249EC0}"/>
                </a:ext>
              </a:extLst>
            </p:cNvPr>
            <p:cNvSpPr/>
            <p:nvPr/>
          </p:nvSpPr>
          <p:spPr>
            <a:xfrm>
              <a:off x="1921239" y="4285569"/>
              <a:ext cx="8877387" cy="104233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r>
                <a:rPr lang="nb-NO" sz="1600" kern="0">
                  <a:solidFill>
                    <a:srgbClr val="000000"/>
                  </a:solidFill>
                  <a:latin typeface="Arial"/>
                  <a:sym typeface="Arial"/>
                </a:rPr>
                <a:t>Rollen salgsordreoppretter bør ikke kombineres med rollene kostnadsgodkjenner eller kundegodkjenner. </a:t>
              </a:r>
            </a:p>
          </p:txBody>
        </p:sp>
        <p:sp>
          <p:nvSpPr>
            <p:cNvPr id="23" name="Rektangel 24">
              <a:extLst>
                <a:ext uri="{FF2B5EF4-FFF2-40B4-BE49-F238E27FC236}">
                  <a16:creationId xmlns:a16="http://schemas.microsoft.com/office/drawing/2014/main" id="{2482E75F-F6C5-4B36-B4CC-3E372D698BF9}"/>
                </a:ext>
              </a:extLst>
            </p:cNvPr>
            <p:cNvSpPr/>
            <p:nvPr/>
          </p:nvSpPr>
          <p:spPr>
            <a:xfrm>
              <a:off x="641075" y="4308215"/>
              <a:ext cx="1187725" cy="101968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solidFill>
                  <a:schemeClr val="tx1"/>
                </a:solidFill>
              </a:endParaRPr>
            </a:p>
          </p:txBody>
        </p:sp>
      </p:grpSp>
      <p:grpSp>
        <p:nvGrpSpPr>
          <p:cNvPr id="33" name="Group 117">
            <a:extLst>
              <a:ext uri="{FF2B5EF4-FFF2-40B4-BE49-F238E27FC236}">
                <a16:creationId xmlns:a16="http://schemas.microsoft.com/office/drawing/2014/main" id="{43E58FCA-7F5E-48D8-A672-962A0C3DC98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264" y="2230336"/>
            <a:ext cx="705600" cy="705600"/>
            <a:chOff x="2594" y="955"/>
            <a:chExt cx="340" cy="340"/>
          </a:xfrm>
          <a:solidFill>
            <a:schemeClr val="accent2"/>
          </a:solidFill>
        </p:grpSpPr>
        <p:sp>
          <p:nvSpPr>
            <p:cNvPr id="34" name="Freeform 118">
              <a:extLst>
                <a:ext uri="{FF2B5EF4-FFF2-40B4-BE49-F238E27FC236}">
                  <a16:creationId xmlns:a16="http://schemas.microsoft.com/office/drawing/2014/main" id="{F055AC3E-B6E0-4E1B-B178-F4BF04BAAE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8" y="1047"/>
              <a:ext cx="212" cy="156"/>
            </a:xfrm>
            <a:custGeom>
              <a:avLst/>
              <a:gdLst>
                <a:gd name="T0" fmla="*/ 309 w 320"/>
                <a:gd name="T1" fmla="*/ 0 h 235"/>
                <a:gd name="T2" fmla="*/ 10 w 320"/>
                <a:gd name="T3" fmla="*/ 0 h 235"/>
                <a:gd name="T4" fmla="*/ 0 w 320"/>
                <a:gd name="T5" fmla="*/ 11 h 235"/>
                <a:gd name="T6" fmla="*/ 0 w 320"/>
                <a:gd name="T7" fmla="*/ 224 h 235"/>
                <a:gd name="T8" fmla="*/ 10 w 320"/>
                <a:gd name="T9" fmla="*/ 235 h 235"/>
                <a:gd name="T10" fmla="*/ 309 w 320"/>
                <a:gd name="T11" fmla="*/ 235 h 235"/>
                <a:gd name="T12" fmla="*/ 320 w 320"/>
                <a:gd name="T13" fmla="*/ 224 h 235"/>
                <a:gd name="T14" fmla="*/ 320 w 320"/>
                <a:gd name="T15" fmla="*/ 11 h 235"/>
                <a:gd name="T16" fmla="*/ 309 w 320"/>
                <a:gd name="T17" fmla="*/ 0 h 235"/>
                <a:gd name="T18" fmla="*/ 298 w 320"/>
                <a:gd name="T19" fmla="*/ 22 h 235"/>
                <a:gd name="T20" fmla="*/ 298 w 320"/>
                <a:gd name="T21" fmla="*/ 43 h 235"/>
                <a:gd name="T22" fmla="*/ 21 w 320"/>
                <a:gd name="T23" fmla="*/ 43 h 235"/>
                <a:gd name="T24" fmla="*/ 21 w 320"/>
                <a:gd name="T25" fmla="*/ 22 h 235"/>
                <a:gd name="T26" fmla="*/ 298 w 320"/>
                <a:gd name="T27" fmla="*/ 22 h 235"/>
                <a:gd name="T28" fmla="*/ 21 w 320"/>
                <a:gd name="T29" fmla="*/ 214 h 235"/>
                <a:gd name="T30" fmla="*/ 21 w 320"/>
                <a:gd name="T31" fmla="*/ 86 h 235"/>
                <a:gd name="T32" fmla="*/ 298 w 320"/>
                <a:gd name="T33" fmla="*/ 86 h 235"/>
                <a:gd name="T34" fmla="*/ 298 w 320"/>
                <a:gd name="T35" fmla="*/ 214 h 235"/>
                <a:gd name="T36" fmla="*/ 21 w 320"/>
                <a:gd name="T37" fmla="*/ 214 h 235"/>
                <a:gd name="T38" fmla="*/ 170 w 320"/>
                <a:gd name="T39" fmla="*/ 182 h 235"/>
                <a:gd name="T40" fmla="*/ 160 w 320"/>
                <a:gd name="T41" fmla="*/ 192 h 235"/>
                <a:gd name="T42" fmla="*/ 53 w 320"/>
                <a:gd name="T43" fmla="*/ 192 h 235"/>
                <a:gd name="T44" fmla="*/ 42 w 320"/>
                <a:gd name="T45" fmla="*/ 182 h 235"/>
                <a:gd name="T46" fmla="*/ 53 w 320"/>
                <a:gd name="T47" fmla="*/ 171 h 235"/>
                <a:gd name="T48" fmla="*/ 160 w 320"/>
                <a:gd name="T49" fmla="*/ 171 h 235"/>
                <a:gd name="T50" fmla="*/ 170 w 320"/>
                <a:gd name="T51" fmla="*/ 18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0" h="235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4" y="235"/>
                    <a:pt x="10" y="235"/>
                  </a:cubicBezTo>
                  <a:cubicBezTo>
                    <a:pt x="309" y="235"/>
                    <a:pt x="309" y="235"/>
                    <a:pt x="309" y="235"/>
                  </a:cubicBezTo>
                  <a:cubicBezTo>
                    <a:pt x="315" y="235"/>
                    <a:pt x="320" y="230"/>
                    <a:pt x="320" y="22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22"/>
                  </a:moveTo>
                  <a:cubicBezTo>
                    <a:pt x="298" y="43"/>
                    <a:pt x="298" y="43"/>
                    <a:pt x="298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22"/>
                    <a:pt x="21" y="22"/>
                    <a:pt x="21" y="22"/>
                  </a:cubicBezTo>
                  <a:lnTo>
                    <a:pt x="298" y="22"/>
                  </a:lnTo>
                  <a:close/>
                  <a:moveTo>
                    <a:pt x="21" y="214"/>
                  </a:moveTo>
                  <a:cubicBezTo>
                    <a:pt x="21" y="86"/>
                    <a:pt x="21" y="86"/>
                    <a:pt x="21" y="86"/>
                  </a:cubicBezTo>
                  <a:cubicBezTo>
                    <a:pt x="298" y="86"/>
                    <a:pt x="298" y="86"/>
                    <a:pt x="298" y="86"/>
                  </a:cubicBezTo>
                  <a:cubicBezTo>
                    <a:pt x="298" y="214"/>
                    <a:pt x="298" y="214"/>
                    <a:pt x="298" y="214"/>
                  </a:cubicBezTo>
                  <a:lnTo>
                    <a:pt x="21" y="214"/>
                  </a:lnTo>
                  <a:close/>
                  <a:moveTo>
                    <a:pt x="170" y="182"/>
                  </a:moveTo>
                  <a:cubicBezTo>
                    <a:pt x="170" y="188"/>
                    <a:pt x="166" y="192"/>
                    <a:pt x="16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47" y="192"/>
                    <a:pt x="42" y="188"/>
                    <a:pt x="42" y="182"/>
                  </a:cubicBezTo>
                  <a:cubicBezTo>
                    <a:pt x="42" y="176"/>
                    <a:pt x="47" y="171"/>
                    <a:pt x="53" y="171"/>
                  </a:cubicBezTo>
                  <a:cubicBezTo>
                    <a:pt x="160" y="171"/>
                    <a:pt x="160" y="171"/>
                    <a:pt x="160" y="171"/>
                  </a:cubicBezTo>
                  <a:cubicBezTo>
                    <a:pt x="166" y="171"/>
                    <a:pt x="170" y="176"/>
                    <a:pt x="170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35" name="Freeform 119">
              <a:extLst>
                <a:ext uri="{FF2B5EF4-FFF2-40B4-BE49-F238E27FC236}">
                  <a16:creationId xmlns:a16="http://schemas.microsoft.com/office/drawing/2014/main" id="{491E7B6B-937C-4947-8DF2-71A71DB0B0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4" y="95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B794EC6-A40C-4686-B0B4-1D1B906A28A8}"/>
              </a:ext>
            </a:extLst>
          </p:cNvPr>
          <p:cNvGrpSpPr/>
          <p:nvPr/>
        </p:nvGrpSpPr>
        <p:grpSpPr>
          <a:xfrm>
            <a:off x="641075" y="4966850"/>
            <a:ext cx="10157551" cy="901728"/>
            <a:chOff x="488675" y="4110048"/>
            <a:chExt cx="10157551" cy="1037136"/>
          </a:xfrm>
        </p:grpSpPr>
        <p:sp>
          <p:nvSpPr>
            <p:cNvPr id="38" name="Rektangel 24">
              <a:extLst>
                <a:ext uri="{FF2B5EF4-FFF2-40B4-BE49-F238E27FC236}">
                  <a16:creationId xmlns:a16="http://schemas.microsoft.com/office/drawing/2014/main" id="{BCF5830E-4541-48FC-A7A3-8BF43CA758E4}"/>
                </a:ext>
              </a:extLst>
            </p:cNvPr>
            <p:cNvSpPr/>
            <p:nvPr/>
          </p:nvSpPr>
          <p:spPr>
            <a:xfrm>
              <a:off x="488675" y="4110048"/>
              <a:ext cx="1187725" cy="101968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solidFill>
                  <a:schemeClr val="tx1"/>
                </a:solidFill>
              </a:endParaRPr>
            </a:p>
          </p:txBody>
        </p:sp>
        <p:sp>
          <p:nvSpPr>
            <p:cNvPr id="39" name="Rektangel 7">
              <a:extLst>
                <a:ext uri="{FF2B5EF4-FFF2-40B4-BE49-F238E27FC236}">
                  <a16:creationId xmlns:a16="http://schemas.microsoft.com/office/drawing/2014/main" id="{B928A0BA-6A11-4F21-92D8-534A38C1F225}"/>
                </a:ext>
              </a:extLst>
            </p:cNvPr>
            <p:cNvSpPr/>
            <p:nvPr/>
          </p:nvSpPr>
          <p:spPr>
            <a:xfrm>
              <a:off x="1768839" y="4116176"/>
              <a:ext cx="8877387" cy="10310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r>
                <a:rPr lang="nb-NO" sz="1600" kern="0">
                  <a:solidFill>
                    <a:srgbClr val="000000"/>
                  </a:solidFill>
                  <a:latin typeface="Arial"/>
                  <a:sym typeface="Arial"/>
                </a:rPr>
                <a:t>Det anbefales at salgsordreoppretter oppretter et høyt volum salgsordre, for å få den mengdetreningen som er nødvendig for korrekt utførelse.</a:t>
              </a:r>
            </a:p>
          </p:txBody>
        </p:sp>
      </p:grpSp>
      <p:grpSp>
        <p:nvGrpSpPr>
          <p:cNvPr id="43" name="Group 809">
            <a:extLst>
              <a:ext uri="{FF2B5EF4-FFF2-40B4-BE49-F238E27FC236}">
                <a16:creationId xmlns:a16="http://schemas.microsoft.com/office/drawing/2014/main" id="{4EF59CF1-9959-4CFB-8F75-266175FDE46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8264" y="3207469"/>
            <a:ext cx="705600" cy="705600"/>
            <a:chOff x="6589" y="3004"/>
            <a:chExt cx="340" cy="340"/>
          </a:xfrm>
          <a:solidFill>
            <a:schemeClr val="accent2"/>
          </a:solidFill>
        </p:grpSpPr>
        <p:sp>
          <p:nvSpPr>
            <p:cNvPr id="44" name="Freeform 810">
              <a:extLst>
                <a:ext uri="{FF2B5EF4-FFF2-40B4-BE49-F238E27FC236}">
                  <a16:creationId xmlns:a16="http://schemas.microsoft.com/office/drawing/2014/main" id="{228FC670-EA32-4598-8D4D-5FFD61C451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9" y="300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45" name="Freeform 811">
              <a:extLst>
                <a:ext uri="{FF2B5EF4-FFF2-40B4-BE49-F238E27FC236}">
                  <a16:creationId xmlns:a16="http://schemas.microsoft.com/office/drawing/2014/main" id="{4550F0A2-2448-4674-807B-ABAAD5A2F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6" y="3067"/>
              <a:ext cx="185" cy="186"/>
            </a:xfrm>
            <a:custGeom>
              <a:avLst/>
              <a:gdLst>
                <a:gd name="T0" fmla="*/ 227 w 279"/>
                <a:gd name="T1" fmla="*/ 247 h 280"/>
                <a:gd name="T2" fmla="*/ 191 w 279"/>
                <a:gd name="T3" fmla="*/ 225 h 280"/>
                <a:gd name="T4" fmla="*/ 267 w 279"/>
                <a:gd name="T5" fmla="*/ 218 h 280"/>
                <a:gd name="T6" fmla="*/ 236 w 279"/>
                <a:gd name="T7" fmla="*/ 97 h 280"/>
                <a:gd name="T8" fmla="*/ 170 w 279"/>
                <a:gd name="T9" fmla="*/ 5 h 280"/>
                <a:gd name="T10" fmla="*/ 140 w 279"/>
                <a:gd name="T11" fmla="*/ 1 h 280"/>
                <a:gd name="T12" fmla="*/ 106 w 279"/>
                <a:gd name="T13" fmla="*/ 6 h 280"/>
                <a:gd name="T14" fmla="*/ 44 w 279"/>
                <a:gd name="T15" fmla="*/ 97 h 280"/>
                <a:gd name="T16" fmla="*/ 12 w 279"/>
                <a:gd name="T17" fmla="*/ 218 h 280"/>
                <a:gd name="T18" fmla="*/ 88 w 279"/>
                <a:gd name="T19" fmla="*/ 225 h 280"/>
                <a:gd name="T20" fmla="*/ 53 w 279"/>
                <a:gd name="T21" fmla="*/ 247 h 280"/>
                <a:gd name="T22" fmla="*/ 3 w 279"/>
                <a:gd name="T23" fmla="*/ 273 h 280"/>
                <a:gd name="T24" fmla="*/ 55 w 279"/>
                <a:gd name="T25" fmla="*/ 268 h 280"/>
                <a:gd name="T26" fmla="*/ 112 w 279"/>
                <a:gd name="T27" fmla="*/ 220 h 280"/>
                <a:gd name="T28" fmla="*/ 85 w 279"/>
                <a:gd name="T29" fmla="*/ 122 h 280"/>
                <a:gd name="T30" fmla="*/ 140 w 279"/>
                <a:gd name="T31" fmla="*/ 53 h 280"/>
                <a:gd name="T32" fmla="*/ 194 w 279"/>
                <a:gd name="T33" fmla="*/ 122 h 280"/>
                <a:gd name="T34" fmla="*/ 167 w 279"/>
                <a:gd name="T35" fmla="*/ 220 h 280"/>
                <a:gd name="T36" fmla="*/ 224 w 279"/>
                <a:gd name="T37" fmla="*/ 268 h 280"/>
                <a:gd name="T38" fmla="*/ 267 w 279"/>
                <a:gd name="T39" fmla="*/ 278 h 280"/>
                <a:gd name="T40" fmla="*/ 273 w 279"/>
                <a:gd name="T41" fmla="*/ 258 h 280"/>
                <a:gd name="T42" fmla="*/ 93 w 279"/>
                <a:gd name="T43" fmla="*/ 203 h 280"/>
                <a:gd name="T44" fmla="*/ 64 w 279"/>
                <a:gd name="T45" fmla="*/ 126 h 280"/>
                <a:gd name="T46" fmla="*/ 93 w 279"/>
                <a:gd name="T47" fmla="*/ 194 h 280"/>
                <a:gd name="T48" fmla="*/ 93 w 279"/>
                <a:gd name="T49" fmla="*/ 40 h 280"/>
                <a:gd name="T50" fmla="*/ 128 w 279"/>
                <a:gd name="T51" fmla="*/ 23 h 280"/>
                <a:gd name="T52" fmla="*/ 151 w 279"/>
                <a:gd name="T53" fmla="*/ 23 h 280"/>
                <a:gd name="T54" fmla="*/ 186 w 279"/>
                <a:gd name="T55" fmla="*/ 40 h 280"/>
                <a:gd name="T56" fmla="*/ 151 w 279"/>
                <a:gd name="T57" fmla="*/ 23 h 280"/>
                <a:gd name="T58" fmla="*/ 215 w 279"/>
                <a:gd name="T59" fmla="*/ 127 h 280"/>
                <a:gd name="T60" fmla="*/ 237 w 279"/>
                <a:gd name="T61" fmla="*/ 203 h 280"/>
                <a:gd name="T62" fmla="*/ 186 w 279"/>
                <a:gd name="T63" fmla="*/ 195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9" h="280">
                  <a:moveTo>
                    <a:pt x="273" y="258"/>
                  </a:moveTo>
                  <a:cubicBezTo>
                    <a:pt x="259" y="250"/>
                    <a:pt x="242" y="249"/>
                    <a:pt x="227" y="247"/>
                  </a:cubicBezTo>
                  <a:cubicBezTo>
                    <a:pt x="217" y="246"/>
                    <a:pt x="207" y="245"/>
                    <a:pt x="203" y="243"/>
                  </a:cubicBezTo>
                  <a:cubicBezTo>
                    <a:pt x="198" y="240"/>
                    <a:pt x="194" y="233"/>
                    <a:pt x="191" y="225"/>
                  </a:cubicBezTo>
                  <a:cubicBezTo>
                    <a:pt x="257" y="225"/>
                    <a:pt x="257" y="225"/>
                    <a:pt x="257" y="225"/>
                  </a:cubicBezTo>
                  <a:cubicBezTo>
                    <a:pt x="261" y="225"/>
                    <a:pt x="265" y="222"/>
                    <a:pt x="267" y="218"/>
                  </a:cubicBezTo>
                  <a:cubicBezTo>
                    <a:pt x="269" y="214"/>
                    <a:pt x="267" y="209"/>
                    <a:pt x="264" y="206"/>
                  </a:cubicBezTo>
                  <a:cubicBezTo>
                    <a:pt x="264" y="206"/>
                    <a:pt x="236" y="177"/>
                    <a:pt x="236" y="97"/>
                  </a:cubicBezTo>
                  <a:cubicBezTo>
                    <a:pt x="236" y="68"/>
                    <a:pt x="227" y="44"/>
                    <a:pt x="210" y="28"/>
                  </a:cubicBezTo>
                  <a:cubicBezTo>
                    <a:pt x="197" y="15"/>
                    <a:pt x="182" y="9"/>
                    <a:pt x="170" y="5"/>
                  </a:cubicBezTo>
                  <a:cubicBezTo>
                    <a:pt x="154" y="0"/>
                    <a:pt x="141" y="1"/>
                    <a:pt x="140" y="1"/>
                  </a:cubicBezTo>
                  <a:cubicBezTo>
                    <a:pt x="140" y="1"/>
                    <a:pt x="140" y="1"/>
                    <a:pt x="140" y="1"/>
                  </a:cubicBezTo>
                  <a:cubicBezTo>
                    <a:pt x="139" y="1"/>
                    <a:pt x="139" y="1"/>
                    <a:pt x="138" y="1"/>
                  </a:cubicBezTo>
                  <a:cubicBezTo>
                    <a:pt x="136" y="1"/>
                    <a:pt x="122" y="0"/>
                    <a:pt x="106" y="6"/>
                  </a:cubicBezTo>
                  <a:cubicBezTo>
                    <a:pt x="94" y="10"/>
                    <a:pt x="81" y="16"/>
                    <a:pt x="70" y="28"/>
                  </a:cubicBezTo>
                  <a:cubicBezTo>
                    <a:pt x="52" y="44"/>
                    <a:pt x="44" y="68"/>
                    <a:pt x="44" y="97"/>
                  </a:cubicBezTo>
                  <a:cubicBezTo>
                    <a:pt x="44" y="177"/>
                    <a:pt x="15" y="206"/>
                    <a:pt x="15" y="206"/>
                  </a:cubicBezTo>
                  <a:cubicBezTo>
                    <a:pt x="12" y="209"/>
                    <a:pt x="11" y="214"/>
                    <a:pt x="12" y="218"/>
                  </a:cubicBezTo>
                  <a:cubicBezTo>
                    <a:pt x="14" y="222"/>
                    <a:pt x="18" y="225"/>
                    <a:pt x="22" y="225"/>
                  </a:cubicBezTo>
                  <a:cubicBezTo>
                    <a:pt x="88" y="225"/>
                    <a:pt x="88" y="225"/>
                    <a:pt x="88" y="225"/>
                  </a:cubicBezTo>
                  <a:cubicBezTo>
                    <a:pt x="85" y="233"/>
                    <a:pt x="81" y="240"/>
                    <a:pt x="77" y="243"/>
                  </a:cubicBezTo>
                  <a:cubicBezTo>
                    <a:pt x="72" y="245"/>
                    <a:pt x="62" y="246"/>
                    <a:pt x="53" y="247"/>
                  </a:cubicBezTo>
                  <a:cubicBezTo>
                    <a:pt x="37" y="249"/>
                    <a:pt x="20" y="250"/>
                    <a:pt x="7" y="258"/>
                  </a:cubicBezTo>
                  <a:cubicBezTo>
                    <a:pt x="2" y="261"/>
                    <a:pt x="0" y="267"/>
                    <a:pt x="3" y="273"/>
                  </a:cubicBezTo>
                  <a:cubicBezTo>
                    <a:pt x="5" y="278"/>
                    <a:pt x="12" y="280"/>
                    <a:pt x="17" y="277"/>
                  </a:cubicBezTo>
                  <a:cubicBezTo>
                    <a:pt x="27" y="271"/>
                    <a:pt x="42" y="270"/>
                    <a:pt x="55" y="268"/>
                  </a:cubicBezTo>
                  <a:cubicBezTo>
                    <a:pt x="67" y="267"/>
                    <a:pt x="78" y="266"/>
                    <a:pt x="86" y="262"/>
                  </a:cubicBezTo>
                  <a:cubicBezTo>
                    <a:pt x="102" y="253"/>
                    <a:pt x="109" y="230"/>
                    <a:pt x="112" y="220"/>
                  </a:cubicBezTo>
                  <a:cubicBezTo>
                    <a:pt x="114" y="211"/>
                    <a:pt x="117" y="193"/>
                    <a:pt x="111" y="183"/>
                  </a:cubicBezTo>
                  <a:cubicBezTo>
                    <a:pt x="100" y="167"/>
                    <a:pt x="89" y="142"/>
                    <a:pt x="85" y="122"/>
                  </a:cubicBezTo>
                  <a:cubicBezTo>
                    <a:pt x="82" y="112"/>
                    <a:pt x="81" y="103"/>
                    <a:pt x="80" y="95"/>
                  </a:cubicBezTo>
                  <a:cubicBezTo>
                    <a:pt x="106" y="91"/>
                    <a:pt x="127" y="75"/>
                    <a:pt x="140" y="53"/>
                  </a:cubicBezTo>
                  <a:cubicBezTo>
                    <a:pt x="152" y="74"/>
                    <a:pt x="173" y="90"/>
                    <a:pt x="199" y="95"/>
                  </a:cubicBezTo>
                  <a:cubicBezTo>
                    <a:pt x="198" y="103"/>
                    <a:pt x="197" y="112"/>
                    <a:pt x="194" y="122"/>
                  </a:cubicBezTo>
                  <a:cubicBezTo>
                    <a:pt x="190" y="142"/>
                    <a:pt x="179" y="167"/>
                    <a:pt x="168" y="183"/>
                  </a:cubicBezTo>
                  <a:cubicBezTo>
                    <a:pt x="162" y="193"/>
                    <a:pt x="165" y="210"/>
                    <a:pt x="167" y="220"/>
                  </a:cubicBezTo>
                  <a:cubicBezTo>
                    <a:pt x="170" y="230"/>
                    <a:pt x="177" y="253"/>
                    <a:pt x="193" y="262"/>
                  </a:cubicBezTo>
                  <a:cubicBezTo>
                    <a:pt x="201" y="266"/>
                    <a:pt x="212" y="267"/>
                    <a:pt x="224" y="268"/>
                  </a:cubicBezTo>
                  <a:cubicBezTo>
                    <a:pt x="237" y="270"/>
                    <a:pt x="252" y="271"/>
                    <a:pt x="262" y="277"/>
                  </a:cubicBezTo>
                  <a:cubicBezTo>
                    <a:pt x="264" y="278"/>
                    <a:pt x="266" y="278"/>
                    <a:pt x="267" y="278"/>
                  </a:cubicBezTo>
                  <a:cubicBezTo>
                    <a:pt x="271" y="278"/>
                    <a:pt x="275" y="276"/>
                    <a:pt x="277" y="273"/>
                  </a:cubicBezTo>
                  <a:cubicBezTo>
                    <a:pt x="279" y="267"/>
                    <a:pt x="278" y="261"/>
                    <a:pt x="273" y="258"/>
                  </a:cubicBezTo>
                  <a:close/>
                  <a:moveTo>
                    <a:pt x="93" y="194"/>
                  </a:moveTo>
                  <a:cubicBezTo>
                    <a:pt x="94" y="196"/>
                    <a:pt x="94" y="199"/>
                    <a:pt x="93" y="203"/>
                  </a:cubicBezTo>
                  <a:cubicBezTo>
                    <a:pt x="43" y="203"/>
                    <a:pt x="43" y="203"/>
                    <a:pt x="43" y="203"/>
                  </a:cubicBezTo>
                  <a:cubicBezTo>
                    <a:pt x="51" y="188"/>
                    <a:pt x="60" y="164"/>
                    <a:pt x="64" y="126"/>
                  </a:cubicBezTo>
                  <a:cubicBezTo>
                    <a:pt x="64" y="126"/>
                    <a:pt x="64" y="126"/>
                    <a:pt x="64" y="127"/>
                  </a:cubicBezTo>
                  <a:cubicBezTo>
                    <a:pt x="69" y="150"/>
                    <a:pt x="81" y="177"/>
                    <a:pt x="93" y="194"/>
                  </a:cubicBezTo>
                  <a:close/>
                  <a:moveTo>
                    <a:pt x="80" y="73"/>
                  </a:moveTo>
                  <a:cubicBezTo>
                    <a:pt x="82" y="60"/>
                    <a:pt x="86" y="49"/>
                    <a:pt x="93" y="40"/>
                  </a:cubicBezTo>
                  <a:cubicBezTo>
                    <a:pt x="99" y="33"/>
                    <a:pt x="107" y="29"/>
                    <a:pt x="114" y="26"/>
                  </a:cubicBezTo>
                  <a:cubicBezTo>
                    <a:pt x="119" y="25"/>
                    <a:pt x="124" y="24"/>
                    <a:pt x="128" y="23"/>
                  </a:cubicBezTo>
                  <a:cubicBezTo>
                    <a:pt x="123" y="48"/>
                    <a:pt x="104" y="67"/>
                    <a:pt x="80" y="73"/>
                  </a:cubicBezTo>
                  <a:close/>
                  <a:moveTo>
                    <a:pt x="151" y="23"/>
                  </a:moveTo>
                  <a:cubicBezTo>
                    <a:pt x="155" y="23"/>
                    <a:pt x="159" y="24"/>
                    <a:pt x="163" y="25"/>
                  </a:cubicBezTo>
                  <a:cubicBezTo>
                    <a:pt x="171" y="28"/>
                    <a:pt x="179" y="33"/>
                    <a:pt x="186" y="40"/>
                  </a:cubicBezTo>
                  <a:cubicBezTo>
                    <a:pt x="193" y="49"/>
                    <a:pt x="197" y="60"/>
                    <a:pt x="199" y="73"/>
                  </a:cubicBezTo>
                  <a:cubicBezTo>
                    <a:pt x="175" y="67"/>
                    <a:pt x="156" y="48"/>
                    <a:pt x="151" y="23"/>
                  </a:cubicBezTo>
                  <a:close/>
                  <a:moveTo>
                    <a:pt x="186" y="195"/>
                  </a:moveTo>
                  <a:cubicBezTo>
                    <a:pt x="198" y="177"/>
                    <a:pt x="210" y="150"/>
                    <a:pt x="215" y="127"/>
                  </a:cubicBezTo>
                  <a:cubicBezTo>
                    <a:pt x="215" y="126"/>
                    <a:pt x="215" y="125"/>
                    <a:pt x="216" y="125"/>
                  </a:cubicBezTo>
                  <a:cubicBezTo>
                    <a:pt x="219" y="163"/>
                    <a:pt x="228" y="188"/>
                    <a:pt x="237" y="203"/>
                  </a:cubicBezTo>
                  <a:cubicBezTo>
                    <a:pt x="186" y="203"/>
                    <a:pt x="186" y="203"/>
                    <a:pt x="186" y="203"/>
                  </a:cubicBezTo>
                  <a:cubicBezTo>
                    <a:pt x="185" y="200"/>
                    <a:pt x="185" y="196"/>
                    <a:pt x="186" y="1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</p:grpSp>
      <p:grpSp>
        <p:nvGrpSpPr>
          <p:cNvPr id="46" name="Group 828">
            <a:extLst>
              <a:ext uri="{FF2B5EF4-FFF2-40B4-BE49-F238E27FC236}">
                <a16:creationId xmlns:a16="http://schemas.microsoft.com/office/drawing/2014/main" id="{EF4A5598-83D1-4216-986B-2ECF7EC23D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6188" y="4119235"/>
            <a:ext cx="707675" cy="705600"/>
            <a:chOff x="5042" y="3019"/>
            <a:chExt cx="341" cy="340"/>
          </a:xfrm>
          <a:solidFill>
            <a:schemeClr val="accent2"/>
          </a:solidFill>
        </p:grpSpPr>
        <p:sp>
          <p:nvSpPr>
            <p:cNvPr id="47" name="Freeform 829">
              <a:extLst>
                <a:ext uri="{FF2B5EF4-FFF2-40B4-BE49-F238E27FC236}">
                  <a16:creationId xmlns:a16="http://schemas.microsoft.com/office/drawing/2014/main" id="{C143BCA3-9E51-4490-84F5-910B314987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" y="3139"/>
              <a:ext cx="72" cy="156"/>
            </a:xfrm>
            <a:custGeom>
              <a:avLst/>
              <a:gdLst>
                <a:gd name="T0" fmla="*/ 74 w 107"/>
                <a:gd name="T1" fmla="*/ 8 h 235"/>
                <a:gd name="T2" fmla="*/ 64 w 107"/>
                <a:gd name="T3" fmla="*/ 0 h 235"/>
                <a:gd name="T4" fmla="*/ 43 w 107"/>
                <a:gd name="T5" fmla="*/ 0 h 235"/>
                <a:gd name="T6" fmla="*/ 32 w 107"/>
                <a:gd name="T7" fmla="*/ 8 h 235"/>
                <a:gd name="T8" fmla="*/ 0 w 107"/>
                <a:gd name="T9" fmla="*/ 136 h 235"/>
                <a:gd name="T10" fmla="*/ 2 w 107"/>
                <a:gd name="T11" fmla="*/ 145 h 235"/>
                <a:gd name="T12" fmla="*/ 11 w 107"/>
                <a:gd name="T13" fmla="*/ 149 h 235"/>
                <a:gd name="T14" fmla="*/ 21 w 107"/>
                <a:gd name="T15" fmla="*/ 149 h 235"/>
                <a:gd name="T16" fmla="*/ 21 w 107"/>
                <a:gd name="T17" fmla="*/ 224 h 235"/>
                <a:gd name="T18" fmla="*/ 32 w 107"/>
                <a:gd name="T19" fmla="*/ 235 h 235"/>
                <a:gd name="T20" fmla="*/ 43 w 107"/>
                <a:gd name="T21" fmla="*/ 224 h 235"/>
                <a:gd name="T22" fmla="*/ 43 w 107"/>
                <a:gd name="T23" fmla="*/ 149 h 235"/>
                <a:gd name="T24" fmla="*/ 64 w 107"/>
                <a:gd name="T25" fmla="*/ 149 h 235"/>
                <a:gd name="T26" fmla="*/ 64 w 107"/>
                <a:gd name="T27" fmla="*/ 224 h 235"/>
                <a:gd name="T28" fmla="*/ 75 w 107"/>
                <a:gd name="T29" fmla="*/ 235 h 235"/>
                <a:gd name="T30" fmla="*/ 85 w 107"/>
                <a:gd name="T31" fmla="*/ 224 h 235"/>
                <a:gd name="T32" fmla="*/ 85 w 107"/>
                <a:gd name="T33" fmla="*/ 149 h 235"/>
                <a:gd name="T34" fmla="*/ 96 w 107"/>
                <a:gd name="T35" fmla="*/ 149 h 235"/>
                <a:gd name="T36" fmla="*/ 104 w 107"/>
                <a:gd name="T37" fmla="*/ 145 h 235"/>
                <a:gd name="T38" fmla="*/ 106 w 107"/>
                <a:gd name="T39" fmla="*/ 136 h 235"/>
                <a:gd name="T40" fmla="*/ 74 w 107"/>
                <a:gd name="T41" fmla="*/ 8 h 235"/>
                <a:gd name="T42" fmla="*/ 51 w 107"/>
                <a:gd name="T43" fmla="*/ 21 h 235"/>
                <a:gd name="T44" fmla="*/ 56 w 107"/>
                <a:gd name="T45" fmla="*/ 21 h 235"/>
                <a:gd name="T46" fmla="*/ 82 w 107"/>
                <a:gd name="T47" fmla="*/ 128 h 235"/>
                <a:gd name="T48" fmla="*/ 24 w 107"/>
                <a:gd name="T49" fmla="*/ 128 h 235"/>
                <a:gd name="T50" fmla="*/ 51 w 107"/>
                <a:gd name="T51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235">
                  <a:moveTo>
                    <a:pt x="74" y="8"/>
                  </a:moveTo>
                  <a:cubicBezTo>
                    <a:pt x="73" y="3"/>
                    <a:pt x="69" y="0"/>
                    <a:pt x="6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2" y="8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9"/>
                    <a:pt x="0" y="143"/>
                    <a:pt x="2" y="145"/>
                  </a:cubicBezTo>
                  <a:cubicBezTo>
                    <a:pt x="4" y="148"/>
                    <a:pt x="7" y="149"/>
                    <a:pt x="11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5" y="230"/>
                    <a:pt x="85" y="224"/>
                  </a:cubicBezTo>
                  <a:cubicBezTo>
                    <a:pt x="85" y="149"/>
                    <a:pt x="85" y="149"/>
                    <a:pt x="85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9" y="149"/>
                    <a:pt x="102" y="148"/>
                    <a:pt x="104" y="145"/>
                  </a:cubicBezTo>
                  <a:cubicBezTo>
                    <a:pt x="106" y="143"/>
                    <a:pt x="107" y="139"/>
                    <a:pt x="106" y="136"/>
                  </a:cubicBezTo>
                  <a:lnTo>
                    <a:pt x="74" y="8"/>
                  </a:lnTo>
                  <a:close/>
                  <a:moveTo>
                    <a:pt x="51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24" y="128"/>
                    <a:pt x="24" y="128"/>
                    <a:pt x="24" y="128"/>
                  </a:cubicBezTo>
                  <a:lnTo>
                    <a:pt x="5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48" name="Freeform 830">
              <a:extLst>
                <a:ext uri="{FF2B5EF4-FFF2-40B4-BE49-F238E27FC236}">
                  <a16:creationId xmlns:a16="http://schemas.microsoft.com/office/drawing/2014/main" id="{259896D0-1D4A-4B70-A415-8584B504DB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0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49" name="Freeform 831">
              <a:extLst>
                <a:ext uri="{FF2B5EF4-FFF2-40B4-BE49-F238E27FC236}">
                  <a16:creationId xmlns:a16="http://schemas.microsoft.com/office/drawing/2014/main" id="{EC406137-5404-459B-9D30-17C1C508F5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7" y="3139"/>
              <a:ext cx="71" cy="156"/>
            </a:xfrm>
            <a:custGeom>
              <a:avLst/>
              <a:gdLst>
                <a:gd name="T0" fmla="*/ 96 w 106"/>
                <a:gd name="T1" fmla="*/ 0 h 235"/>
                <a:gd name="T2" fmla="*/ 10 w 106"/>
                <a:gd name="T3" fmla="*/ 0 h 235"/>
                <a:gd name="T4" fmla="*/ 0 w 106"/>
                <a:gd name="T5" fmla="*/ 11 h 235"/>
                <a:gd name="T6" fmla="*/ 0 w 106"/>
                <a:gd name="T7" fmla="*/ 117 h 235"/>
                <a:gd name="T8" fmla="*/ 10 w 106"/>
                <a:gd name="T9" fmla="*/ 128 h 235"/>
                <a:gd name="T10" fmla="*/ 21 w 106"/>
                <a:gd name="T11" fmla="*/ 128 h 235"/>
                <a:gd name="T12" fmla="*/ 21 w 106"/>
                <a:gd name="T13" fmla="*/ 224 h 235"/>
                <a:gd name="T14" fmla="*/ 32 w 106"/>
                <a:gd name="T15" fmla="*/ 235 h 235"/>
                <a:gd name="T16" fmla="*/ 42 w 106"/>
                <a:gd name="T17" fmla="*/ 224 h 235"/>
                <a:gd name="T18" fmla="*/ 42 w 106"/>
                <a:gd name="T19" fmla="*/ 128 h 235"/>
                <a:gd name="T20" fmla="*/ 64 w 106"/>
                <a:gd name="T21" fmla="*/ 128 h 235"/>
                <a:gd name="T22" fmla="*/ 64 w 106"/>
                <a:gd name="T23" fmla="*/ 224 h 235"/>
                <a:gd name="T24" fmla="*/ 74 w 106"/>
                <a:gd name="T25" fmla="*/ 235 h 235"/>
                <a:gd name="T26" fmla="*/ 85 w 106"/>
                <a:gd name="T27" fmla="*/ 224 h 235"/>
                <a:gd name="T28" fmla="*/ 85 w 106"/>
                <a:gd name="T29" fmla="*/ 128 h 235"/>
                <a:gd name="T30" fmla="*/ 96 w 106"/>
                <a:gd name="T31" fmla="*/ 128 h 235"/>
                <a:gd name="T32" fmla="*/ 106 w 106"/>
                <a:gd name="T33" fmla="*/ 117 h 235"/>
                <a:gd name="T34" fmla="*/ 106 w 106"/>
                <a:gd name="T35" fmla="*/ 11 h 235"/>
                <a:gd name="T36" fmla="*/ 96 w 106"/>
                <a:gd name="T37" fmla="*/ 0 h 235"/>
                <a:gd name="T38" fmla="*/ 85 w 106"/>
                <a:gd name="T39" fmla="*/ 107 h 235"/>
                <a:gd name="T40" fmla="*/ 21 w 106"/>
                <a:gd name="T41" fmla="*/ 107 h 235"/>
                <a:gd name="T42" fmla="*/ 21 w 106"/>
                <a:gd name="T43" fmla="*/ 21 h 235"/>
                <a:gd name="T44" fmla="*/ 85 w 106"/>
                <a:gd name="T45" fmla="*/ 21 h 235"/>
                <a:gd name="T46" fmla="*/ 85 w 106"/>
                <a:gd name="T47" fmla="*/ 10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" h="235">
                  <a:moveTo>
                    <a:pt x="9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2" y="230"/>
                    <a:pt x="42" y="224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8" y="235"/>
                    <a:pt x="74" y="235"/>
                  </a:cubicBezTo>
                  <a:cubicBezTo>
                    <a:pt x="80" y="235"/>
                    <a:pt x="85" y="230"/>
                    <a:pt x="85" y="224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2" y="128"/>
                    <a:pt x="106" y="123"/>
                    <a:pt x="106" y="117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6" y="5"/>
                    <a:pt x="102" y="0"/>
                    <a:pt x="96" y="0"/>
                  </a:cubicBezTo>
                  <a:close/>
                  <a:moveTo>
                    <a:pt x="85" y="107"/>
                  </a:moveTo>
                  <a:cubicBezTo>
                    <a:pt x="21" y="107"/>
                    <a:pt x="21" y="107"/>
                    <a:pt x="21" y="10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85" y="21"/>
                    <a:pt x="85" y="21"/>
                    <a:pt x="85" y="21"/>
                  </a:cubicBez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50" name="Freeform 832">
              <a:extLst>
                <a:ext uri="{FF2B5EF4-FFF2-40B4-BE49-F238E27FC236}">
                  <a16:creationId xmlns:a16="http://schemas.microsoft.com/office/drawing/2014/main" id="{60890A87-219D-4ECD-9B1E-E82712D3F8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1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51" name="Freeform 833">
              <a:extLst>
                <a:ext uri="{FF2B5EF4-FFF2-40B4-BE49-F238E27FC236}">
                  <a16:creationId xmlns:a16="http://schemas.microsoft.com/office/drawing/2014/main" id="{A46AF182-E9E8-4DEC-9970-3A9FA4C7C9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2" y="3019"/>
              <a:ext cx="341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</p:grpSp>
      <p:grpSp>
        <p:nvGrpSpPr>
          <p:cNvPr id="52" name="Group 299">
            <a:extLst>
              <a:ext uri="{FF2B5EF4-FFF2-40B4-BE49-F238E27FC236}">
                <a16:creationId xmlns:a16="http://schemas.microsoft.com/office/drawing/2014/main" id="{6A26CFC5-079D-499B-A8D3-2A398207277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6176" y="5057328"/>
            <a:ext cx="707687" cy="705600"/>
            <a:chOff x="1166" y="1121"/>
            <a:chExt cx="341" cy="340"/>
          </a:xfrm>
          <a:solidFill>
            <a:schemeClr val="accent2"/>
          </a:solidFill>
        </p:grpSpPr>
        <p:sp>
          <p:nvSpPr>
            <p:cNvPr id="53" name="Freeform 300">
              <a:extLst>
                <a:ext uri="{FF2B5EF4-FFF2-40B4-BE49-F238E27FC236}">
                  <a16:creationId xmlns:a16="http://schemas.microsoft.com/office/drawing/2014/main" id="{7BF265AA-4222-4868-9FD1-36817A9E7A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0" y="1213"/>
              <a:ext cx="213" cy="170"/>
            </a:xfrm>
            <a:custGeom>
              <a:avLst/>
              <a:gdLst>
                <a:gd name="T0" fmla="*/ 309 w 320"/>
                <a:gd name="T1" fmla="*/ 0 h 256"/>
                <a:gd name="T2" fmla="*/ 10 w 320"/>
                <a:gd name="T3" fmla="*/ 0 h 256"/>
                <a:gd name="T4" fmla="*/ 0 w 320"/>
                <a:gd name="T5" fmla="*/ 11 h 256"/>
                <a:gd name="T6" fmla="*/ 0 w 320"/>
                <a:gd name="T7" fmla="*/ 203 h 256"/>
                <a:gd name="T8" fmla="*/ 10 w 320"/>
                <a:gd name="T9" fmla="*/ 214 h 256"/>
                <a:gd name="T10" fmla="*/ 149 w 320"/>
                <a:gd name="T11" fmla="*/ 214 h 256"/>
                <a:gd name="T12" fmla="*/ 149 w 320"/>
                <a:gd name="T13" fmla="*/ 235 h 256"/>
                <a:gd name="T14" fmla="*/ 106 w 320"/>
                <a:gd name="T15" fmla="*/ 235 h 256"/>
                <a:gd name="T16" fmla="*/ 96 w 320"/>
                <a:gd name="T17" fmla="*/ 246 h 256"/>
                <a:gd name="T18" fmla="*/ 106 w 320"/>
                <a:gd name="T19" fmla="*/ 256 h 256"/>
                <a:gd name="T20" fmla="*/ 213 w 320"/>
                <a:gd name="T21" fmla="*/ 256 h 256"/>
                <a:gd name="T22" fmla="*/ 224 w 320"/>
                <a:gd name="T23" fmla="*/ 246 h 256"/>
                <a:gd name="T24" fmla="*/ 213 w 320"/>
                <a:gd name="T25" fmla="*/ 235 h 256"/>
                <a:gd name="T26" fmla="*/ 170 w 320"/>
                <a:gd name="T27" fmla="*/ 235 h 256"/>
                <a:gd name="T28" fmla="*/ 170 w 320"/>
                <a:gd name="T29" fmla="*/ 214 h 256"/>
                <a:gd name="T30" fmla="*/ 309 w 320"/>
                <a:gd name="T31" fmla="*/ 214 h 256"/>
                <a:gd name="T32" fmla="*/ 320 w 320"/>
                <a:gd name="T33" fmla="*/ 203 h 256"/>
                <a:gd name="T34" fmla="*/ 320 w 320"/>
                <a:gd name="T35" fmla="*/ 11 h 256"/>
                <a:gd name="T36" fmla="*/ 309 w 320"/>
                <a:gd name="T37" fmla="*/ 0 h 256"/>
                <a:gd name="T38" fmla="*/ 298 w 320"/>
                <a:gd name="T39" fmla="*/ 192 h 256"/>
                <a:gd name="T40" fmla="*/ 21 w 320"/>
                <a:gd name="T41" fmla="*/ 192 h 256"/>
                <a:gd name="T42" fmla="*/ 21 w 320"/>
                <a:gd name="T43" fmla="*/ 22 h 256"/>
                <a:gd name="T44" fmla="*/ 298 w 320"/>
                <a:gd name="T45" fmla="*/ 22 h 256"/>
                <a:gd name="T46" fmla="*/ 298 w 320"/>
                <a:gd name="T47" fmla="*/ 19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0" h="256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9"/>
                    <a:pt x="4" y="214"/>
                    <a:pt x="10" y="214"/>
                  </a:cubicBezTo>
                  <a:cubicBezTo>
                    <a:pt x="149" y="214"/>
                    <a:pt x="149" y="214"/>
                    <a:pt x="149" y="214"/>
                  </a:cubicBezTo>
                  <a:cubicBezTo>
                    <a:pt x="149" y="235"/>
                    <a:pt x="149" y="235"/>
                    <a:pt x="149" y="235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0" y="235"/>
                    <a:pt x="96" y="240"/>
                    <a:pt x="96" y="246"/>
                  </a:cubicBezTo>
                  <a:cubicBezTo>
                    <a:pt x="96" y="252"/>
                    <a:pt x="100" y="256"/>
                    <a:pt x="106" y="256"/>
                  </a:cubicBezTo>
                  <a:cubicBezTo>
                    <a:pt x="213" y="256"/>
                    <a:pt x="213" y="256"/>
                    <a:pt x="213" y="256"/>
                  </a:cubicBezTo>
                  <a:cubicBezTo>
                    <a:pt x="219" y="256"/>
                    <a:pt x="224" y="252"/>
                    <a:pt x="224" y="246"/>
                  </a:cubicBezTo>
                  <a:cubicBezTo>
                    <a:pt x="224" y="240"/>
                    <a:pt x="219" y="235"/>
                    <a:pt x="213" y="235"/>
                  </a:cubicBezTo>
                  <a:cubicBezTo>
                    <a:pt x="170" y="235"/>
                    <a:pt x="170" y="235"/>
                    <a:pt x="170" y="235"/>
                  </a:cubicBezTo>
                  <a:cubicBezTo>
                    <a:pt x="170" y="214"/>
                    <a:pt x="170" y="214"/>
                    <a:pt x="170" y="214"/>
                  </a:cubicBezTo>
                  <a:cubicBezTo>
                    <a:pt x="309" y="214"/>
                    <a:pt x="309" y="214"/>
                    <a:pt x="309" y="214"/>
                  </a:cubicBezTo>
                  <a:cubicBezTo>
                    <a:pt x="315" y="214"/>
                    <a:pt x="320" y="209"/>
                    <a:pt x="320" y="203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192"/>
                  </a:moveTo>
                  <a:cubicBezTo>
                    <a:pt x="21" y="192"/>
                    <a:pt x="21" y="192"/>
                    <a:pt x="21" y="19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98" y="22"/>
                    <a:pt x="298" y="22"/>
                    <a:pt x="298" y="22"/>
                  </a:cubicBezTo>
                  <a:lnTo>
                    <a:pt x="298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54" name="Freeform 301">
              <a:extLst>
                <a:ext uri="{FF2B5EF4-FFF2-40B4-BE49-F238E27FC236}">
                  <a16:creationId xmlns:a16="http://schemas.microsoft.com/office/drawing/2014/main" id="{4F224427-D81D-43B6-A119-983816D4C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6" y="1121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</p:spTree>
    <p:extLst>
      <p:ext uri="{BB962C8B-B14F-4D97-AF65-F5344CB8AC3E}">
        <p14:creationId xmlns:p14="http://schemas.microsoft.com/office/powerpoint/2010/main" val="6323506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E7B34652ADC749A2AB15E997B3C6EA" ma:contentTypeVersion="8" ma:contentTypeDescription="Create a new document." ma:contentTypeScope="" ma:versionID="dc80cfa376517e07bee57ae7cd31c794">
  <xsd:schema xmlns:xsd="http://www.w3.org/2001/XMLSchema" xmlns:xs="http://www.w3.org/2001/XMLSchema" xmlns:p="http://schemas.microsoft.com/office/2006/metadata/properties" xmlns:ns2="8f21d330-e887-4cc7-9942-696b08255880" xmlns:ns3="f4a8ecaf-ab75-4c18-86dd-1d5ebc4f4b49" targetNamespace="http://schemas.microsoft.com/office/2006/metadata/properties" ma:root="true" ma:fieldsID="6fa885c36135a83845f92c257960f7f2" ns2:_="" ns3:_="">
    <xsd:import namespace="8f21d330-e887-4cc7-9942-696b08255880"/>
    <xsd:import namespace="f4a8ecaf-ab75-4c18-86dd-1d5ebc4f4b4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21d330-e887-4cc7-9942-696b0825588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a8ecaf-ab75-4c18-86dd-1d5ebc4f4b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4355304-6DFA-415A-8C53-1A6C38C97D9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11173FD-674A-4C90-AD00-704AEFBE18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21d330-e887-4cc7-9942-696b08255880"/>
    <ds:schemaRef ds:uri="f4a8ecaf-ab75-4c18-86dd-1d5ebc4f4b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D34A045-2195-40D3-B59F-2C94C0A22A8B}">
  <ds:schemaRefs>
    <ds:schemaRef ds:uri="http://purl.org/dc/terms/"/>
    <ds:schemaRef ds:uri="f4a8ecaf-ab75-4c18-86dd-1d5ebc4f4b49"/>
    <ds:schemaRef ds:uri="http://purl.org/dc/dcmitype/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8f21d330-e887-4cc7-9942-696b0825588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25</Words>
  <Application>Microsoft Office PowerPoint</Application>
  <PresentationFormat>Widescreen</PresentationFormat>
  <Paragraphs>118</Paragraphs>
  <Slides>1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1_Office-tema</vt:lpstr>
      <vt:lpstr>think-cell Slide</vt:lpstr>
      <vt:lpstr>Salgsordreoppretter</vt:lpstr>
      <vt:lpstr>Agenda</vt:lpstr>
      <vt:lpstr>Velkommen</vt:lpstr>
      <vt:lpstr>Salgsordreoppretter har ansvar og arbeidsoppgaver i delprosessen «Ordrebehandling»</vt:lpstr>
      <vt:lpstr>Salgsordreoppretter har ansvar og arbeidsoppgaver i delprosessen «Korrigering av faktura i kunder og salg»</vt:lpstr>
      <vt:lpstr>PowerPoint Presentation</vt:lpstr>
      <vt:lpstr>Fakturaansvarlig</vt:lpstr>
      <vt:lpstr>Gevinster ved å ha rollen salgsordreoppretter på fakultet</vt:lpstr>
      <vt:lpstr>Hva er viktig å tenke på i innmelding i rollen?</vt:lpstr>
      <vt:lpstr>Hva blir endringene for rolleinnehaveren sammenlignet med dagens prosess?</vt:lpstr>
      <vt:lpstr>Unit4 ERP – registrering av salgsordre</vt:lpstr>
      <vt:lpstr>Spørsmål</vt:lpstr>
      <vt:lpstr>Vedlegg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Myrvag, Oda</dc:creator>
  <cp:lastModifiedBy>Horvei, Christina</cp:lastModifiedBy>
  <cp:revision>3</cp:revision>
  <dcterms:created xsi:type="dcterms:W3CDTF">2022-05-04T05:19:06Z</dcterms:created>
  <dcterms:modified xsi:type="dcterms:W3CDTF">2022-05-12T08:0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E7B34652ADC749A2AB15E997B3C6EA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5-04T05:19:16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3ccdce7f-5e8e-4062-85b2-68b3b1c86e1c</vt:lpwstr>
  </property>
  <property fmtid="{D5CDD505-2E9C-101B-9397-08002B2CF9AE}" pid="9" name="MSIP_Label_ea60d57e-af5b-4752-ac57-3e4f28ca11dc_ContentBits">
    <vt:lpwstr>0</vt:lpwstr>
  </property>
</Properties>
</file>